
<file path=[Content_Types].xml><?xml version="1.0" encoding="utf-8"?>
<Types xmlns="http://schemas.openxmlformats.org/package/2006/content-types">
  <Default Extension="fntdata" ContentType="application/x-fontdata"/>
  <Default Extension="gif" ContentType="image/gi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1" r:id="rId1"/>
  </p:sldMasterIdLst>
  <p:notesMasterIdLst>
    <p:notesMasterId r:id="rId13"/>
  </p:notesMasterIdLst>
  <p:sldIdLst>
    <p:sldId id="256" r:id="rId2"/>
    <p:sldId id="258" r:id="rId3"/>
    <p:sldId id="259" r:id="rId4"/>
    <p:sldId id="260" r:id="rId5"/>
    <p:sldId id="261" r:id="rId6"/>
    <p:sldId id="262" r:id="rId7"/>
    <p:sldId id="257" r:id="rId8"/>
    <p:sldId id="267" r:id="rId9"/>
    <p:sldId id="265" r:id="rId10"/>
    <p:sldId id="269" r:id="rId11"/>
    <p:sldId id="268" r:id="rId12"/>
  </p:sldIdLst>
  <p:sldSz cx="9144000" cy="6858000" type="screen4x3"/>
  <p:notesSz cx="6858000" cy="9144000"/>
  <p:embeddedFontLst>
    <p:embeddedFont>
      <p:font typeface="Calibri" panose="020F0502020204030204" pitchFamily="34" charset="0"/>
      <p:regular r:id="rId14"/>
      <p:bold r:id="rId15"/>
      <p:italic r:id="rId16"/>
      <p:boldItalic r:id="rId17"/>
    </p:embeddedFont>
    <p:embeddedFont>
      <p:font typeface="Titillium Web" panose="020B0604020202020204" charset="0"/>
      <p:regular r:id="rId18"/>
      <p:bold r:id="rId19"/>
      <p:italic r:id="rId20"/>
      <p:boldItalic r:id="rId21"/>
    </p:embeddedFont>
    <p:embeddedFont>
      <p:font typeface="Titillium Web ExtraLight" panose="020B0604020202020204" charset="0"/>
      <p:regular r:id="rId22"/>
      <p:bold r:id="rId23"/>
      <p:italic r:id="rId24"/>
      <p:boldItalic r:id="rId2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7F7F7"/>
    <a:srgbClr val="E1E1E1"/>
    <a:srgbClr val="465573"/>
    <a:srgbClr val="CFCFCF"/>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6198069-E2E6-4704-8FBD-F110967EDED6}">
  <a:tblStyle styleId="{A6198069-E2E6-4704-8FBD-F110967EDED6}"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1476"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8.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25" Type="http://schemas.openxmlformats.org/officeDocument/2006/relationships/font" Target="fonts/font12.fntdata"/><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1.fntdata"/><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arage%20B14\Desktop\Total%20energy%20supply%20(TES)%20by%20source%20-%20Singapore.csv"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7.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Garage%20B14\Desktop\Total%20energy%20supply%20(TES)%20by%20source%20-%20Singapore.csv"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4.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sz="1100" b="1" i="0" baseline="0" dirty="0">
                <a:effectLst/>
              </a:rPr>
              <a:t>Total energy supply (TES) by source, Singapore 1990-2018 </a:t>
            </a:r>
            <a:endParaRPr lang="en-US" sz="1400" dirty="0">
              <a:effectLst/>
            </a:endParaRP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9.9580027681309885E-2"/>
          <c:y val="0.12422853893910542"/>
          <c:w val="0.87252299503705388"/>
          <c:h val="0.72762759449764058"/>
        </c:manualLayout>
      </c:layout>
      <c:barChart>
        <c:barDir val="col"/>
        <c:grouping val="clustered"/>
        <c:varyColors val="0"/>
        <c:ser>
          <c:idx val="0"/>
          <c:order val="0"/>
          <c:tx>
            <c:strRef>
              <c:f>'Total energy supply (TES) by so'!$B$5</c:f>
              <c:strCache>
                <c:ptCount val="1"/>
                <c:pt idx="0">
                  <c:v>Coal</c:v>
                </c:pt>
              </c:strCache>
            </c:strRef>
          </c:tx>
          <c:spPr>
            <a:solidFill>
              <a:schemeClr val="accent1"/>
            </a:solidFill>
            <a:ln>
              <a:noFill/>
            </a:ln>
            <a:effectLst/>
          </c:spPr>
          <c:invertIfNegative val="0"/>
          <c:cat>
            <c:numRef>
              <c:f>'Total energy supply (TES) by so'!$A$6:$A$12</c:f>
              <c:numCache>
                <c:formatCode>General</c:formatCode>
                <c:ptCount val="7"/>
                <c:pt idx="0">
                  <c:v>1990</c:v>
                </c:pt>
                <c:pt idx="1">
                  <c:v>1995</c:v>
                </c:pt>
                <c:pt idx="2">
                  <c:v>2000</c:v>
                </c:pt>
                <c:pt idx="3">
                  <c:v>2005</c:v>
                </c:pt>
                <c:pt idx="4">
                  <c:v>2010</c:v>
                </c:pt>
                <c:pt idx="5">
                  <c:v>2015</c:v>
                </c:pt>
                <c:pt idx="6">
                  <c:v>2018</c:v>
                </c:pt>
              </c:numCache>
            </c:numRef>
          </c:cat>
          <c:val>
            <c:numRef>
              <c:f>'Total energy supply (TES) by so'!$B$6:$B$12</c:f>
              <c:numCache>
                <c:formatCode>General</c:formatCode>
                <c:ptCount val="7"/>
                <c:pt idx="0">
                  <c:v>21</c:v>
                </c:pt>
                <c:pt idx="1">
                  <c:v>11</c:v>
                </c:pt>
                <c:pt idx="3">
                  <c:v>3</c:v>
                </c:pt>
                <c:pt idx="4">
                  <c:v>7</c:v>
                </c:pt>
                <c:pt idx="5">
                  <c:v>407</c:v>
                </c:pt>
                <c:pt idx="6">
                  <c:v>478</c:v>
                </c:pt>
              </c:numCache>
            </c:numRef>
          </c:val>
          <c:extLst>
            <c:ext xmlns:c16="http://schemas.microsoft.com/office/drawing/2014/chart" uri="{C3380CC4-5D6E-409C-BE32-E72D297353CC}">
              <c16:uniqueId val="{00000000-0E23-454D-B4C1-872D9949675A}"/>
            </c:ext>
          </c:extLst>
        </c:ser>
        <c:ser>
          <c:idx val="1"/>
          <c:order val="1"/>
          <c:tx>
            <c:strRef>
              <c:f>'Total energy supply (TES) by so'!$C$5</c:f>
              <c:strCache>
                <c:ptCount val="1"/>
                <c:pt idx="0">
                  <c:v>Biofuels and waste</c:v>
                </c:pt>
              </c:strCache>
            </c:strRef>
          </c:tx>
          <c:spPr>
            <a:solidFill>
              <a:srgbClr val="FFC000"/>
            </a:solidFill>
            <a:ln>
              <a:noFill/>
            </a:ln>
            <a:effectLst/>
          </c:spPr>
          <c:invertIfNegative val="0"/>
          <c:cat>
            <c:numRef>
              <c:f>'Total energy supply (TES) by so'!$A$6:$A$12</c:f>
              <c:numCache>
                <c:formatCode>General</c:formatCode>
                <c:ptCount val="7"/>
                <c:pt idx="0">
                  <c:v>1990</c:v>
                </c:pt>
                <c:pt idx="1">
                  <c:v>1995</c:v>
                </c:pt>
                <c:pt idx="2">
                  <c:v>2000</c:v>
                </c:pt>
                <c:pt idx="3">
                  <c:v>2005</c:v>
                </c:pt>
                <c:pt idx="4">
                  <c:v>2010</c:v>
                </c:pt>
                <c:pt idx="5">
                  <c:v>2015</c:v>
                </c:pt>
                <c:pt idx="6">
                  <c:v>2018</c:v>
                </c:pt>
              </c:numCache>
            </c:numRef>
          </c:cat>
          <c:val>
            <c:numRef>
              <c:f>'Total energy supply (TES) by so'!$C$6:$C$12</c:f>
              <c:numCache>
                <c:formatCode>General</c:formatCode>
                <c:ptCount val="7"/>
                <c:pt idx="0">
                  <c:v>70</c:v>
                </c:pt>
                <c:pt idx="1">
                  <c:v>202</c:v>
                </c:pt>
                <c:pt idx="2">
                  <c:v>202</c:v>
                </c:pt>
                <c:pt idx="3">
                  <c:v>394</c:v>
                </c:pt>
                <c:pt idx="4">
                  <c:v>587</c:v>
                </c:pt>
                <c:pt idx="5">
                  <c:v>678</c:v>
                </c:pt>
                <c:pt idx="6">
                  <c:v>670</c:v>
                </c:pt>
              </c:numCache>
            </c:numRef>
          </c:val>
          <c:extLst>
            <c:ext xmlns:c16="http://schemas.microsoft.com/office/drawing/2014/chart" uri="{C3380CC4-5D6E-409C-BE32-E72D297353CC}">
              <c16:uniqueId val="{00000001-0E23-454D-B4C1-872D9949675A}"/>
            </c:ext>
          </c:extLst>
        </c:ser>
        <c:ser>
          <c:idx val="2"/>
          <c:order val="2"/>
          <c:tx>
            <c:strRef>
              <c:f>'Total energy supply (TES) by so'!$D$5</c:f>
              <c:strCache>
                <c:ptCount val="1"/>
                <c:pt idx="0">
                  <c:v>Oil</c:v>
                </c:pt>
              </c:strCache>
            </c:strRef>
          </c:tx>
          <c:spPr>
            <a:solidFill>
              <a:schemeClr val="accent3"/>
            </a:solidFill>
            <a:ln>
              <a:noFill/>
            </a:ln>
            <a:effectLst/>
          </c:spPr>
          <c:invertIfNegative val="0"/>
          <c:cat>
            <c:numRef>
              <c:f>'Total energy supply (TES) by so'!$A$6:$A$12</c:f>
              <c:numCache>
                <c:formatCode>General</c:formatCode>
                <c:ptCount val="7"/>
                <c:pt idx="0">
                  <c:v>1990</c:v>
                </c:pt>
                <c:pt idx="1">
                  <c:v>1995</c:v>
                </c:pt>
                <c:pt idx="2">
                  <c:v>2000</c:v>
                </c:pt>
                <c:pt idx="3">
                  <c:v>2005</c:v>
                </c:pt>
                <c:pt idx="4">
                  <c:v>2010</c:v>
                </c:pt>
                <c:pt idx="5">
                  <c:v>2015</c:v>
                </c:pt>
                <c:pt idx="6">
                  <c:v>2018</c:v>
                </c:pt>
              </c:numCache>
            </c:numRef>
          </c:cat>
          <c:val>
            <c:numRef>
              <c:f>'Total energy supply (TES) by so'!$D$6:$D$12</c:f>
              <c:numCache>
                <c:formatCode>General</c:formatCode>
                <c:ptCount val="7"/>
                <c:pt idx="0">
                  <c:v>11435</c:v>
                </c:pt>
                <c:pt idx="1">
                  <c:v>17366</c:v>
                </c:pt>
                <c:pt idx="2">
                  <c:v>17347</c:v>
                </c:pt>
                <c:pt idx="3">
                  <c:v>15601</c:v>
                </c:pt>
                <c:pt idx="4">
                  <c:v>16414</c:v>
                </c:pt>
                <c:pt idx="5">
                  <c:v>22077</c:v>
                </c:pt>
                <c:pt idx="6">
                  <c:v>27621</c:v>
                </c:pt>
              </c:numCache>
            </c:numRef>
          </c:val>
          <c:extLst>
            <c:ext xmlns:c16="http://schemas.microsoft.com/office/drawing/2014/chart" uri="{C3380CC4-5D6E-409C-BE32-E72D297353CC}">
              <c16:uniqueId val="{00000002-0E23-454D-B4C1-872D9949675A}"/>
            </c:ext>
          </c:extLst>
        </c:ser>
        <c:ser>
          <c:idx val="3"/>
          <c:order val="3"/>
          <c:tx>
            <c:strRef>
              <c:f>'Total energy supply (TES) by so'!$E$5</c:f>
              <c:strCache>
                <c:ptCount val="1"/>
                <c:pt idx="0">
                  <c:v>Natural gas</c:v>
                </c:pt>
              </c:strCache>
            </c:strRef>
          </c:tx>
          <c:spPr>
            <a:solidFill>
              <a:schemeClr val="accent4"/>
            </a:solidFill>
            <a:ln>
              <a:noFill/>
            </a:ln>
            <a:effectLst/>
          </c:spPr>
          <c:invertIfNegative val="0"/>
          <c:cat>
            <c:numRef>
              <c:f>'Total energy supply (TES) by so'!$A$6:$A$12</c:f>
              <c:numCache>
                <c:formatCode>General</c:formatCode>
                <c:ptCount val="7"/>
                <c:pt idx="0">
                  <c:v>1990</c:v>
                </c:pt>
                <c:pt idx="1">
                  <c:v>1995</c:v>
                </c:pt>
                <c:pt idx="2">
                  <c:v>2000</c:v>
                </c:pt>
                <c:pt idx="3">
                  <c:v>2005</c:v>
                </c:pt>
                <c:pt idx="4">
                  <c:v>2010</c:v>
                </c:pt>
                <c:pt idx="5">
                  <c:v>2015</c:v>
                </c:pt>
                <c:pt idx="6">
                  <c:v>2018</c:v>
                </c:pt>
              </c:numCache>
            </c:numRef>
          </c:cat>
          <c:val>
            <c:numRef>
              <c:f>'Total energy supply (TES) by so'!$E$6:$E$12</c:f>
              <c:numCache>
                <c:formatCode>General</c:formatCode>
                <c:ptCount val="7"/>
                <c:pt idx="1">
                  <c:v>1266</c:v>
                </c:pt>
                <c:pt idx="2">
                  <c:v>1119</c:v>
                </c:pt>
                <c:pt idx="3">
                  <c:v>5014</c:v>
                </c:pt>
                <c:pt idx="4">
                  <c:v>6493</c:v>
                </c:pt>
                <c:pt idx="5">
                  <c:v>8545</c:v>
                </c:pt>
                <c:pt idx="6">
                  <c:v>8963</c:v>
                </c:pt>
              </c:numCache>
            </c:numRef>
          </c:val>
          <c:extLst>
            <c:ext xmlns:c16="http://schemas.microsoft.com/office/drawing/2014/chart" uri="{C3380CC4-5D6E-409C-BE32-E72D297353CC}">
              <c16:uniqueId val="{00000003-0E23-454D-B4C1-872D9949675A}"/>
            </c:ext>
          </c:extLst>
        </c:ser>
        <c:ser>
          <c:idx val="4"/>
          <c:order val="4"/>
          <c:tx>
            <c:strRef>
              <c:f>'Total energy supply (TES) by so'!$F$5</c:f>
              <c:strCache>
                <c:ptCount val="1"/>
                <c:pt idx="0">
                  <c:v>Wind, solar, etc.</c:v>
                </c:pt>
              </c:strCache>
            </c:strRef>
          </c:tx>
          <c:spPr>
            <a:solidFill>
              <a:srgbClr val="CFCFCF"/>
            </a:solidFill>
            <a:ln>
              <a:noFill/>
            </a:ln>
            <a:effectLst/>
          </c:spPr>
          <c:invertIfNegative val="0"/>
          <c:cat>
            <c:numRef>
              <c:f>'Total energy supply (TES) by so'!$A$6:$A$12</c:f>
              <c:numCache>
                <c:formatCode>General</c:formatCode>
                <c:ptCount val="7"/>
                <c:pt idx="0">
                  <c:v>1990</c:v>
                </c:pt>
                <c:pt idx="1">
                  <c:v>1995</c:v>
                </c:pt>
                <c:pt idx="2">
                  <c:v>2000</c:v>
                </c:pt>
                <c:pt idx="3">
                  <c:v>2005</c:v>
                </c:pt>
                <c:pt idx="4">
                  <c:v>2010</c:v>
                </c:pt>
                <c:pt idx="5">
                  <c:v>2015</c:v>
                </c:pt>
                <c:pt idx="6">
                  <c:v>2018</c:v>
                </c:pt>
              </c:numCache>
            </c:numRef>
          </c:cat>
          <c:val>
            <c:numRef>
              <c:f>'Total energy supply (TES) by so'!$F$6:$F$12</c:f>
              <c:numCache>
                <c:formatCode>General</c:formatCode>
                <c:ptCount val="7"/>
                <c:pt idx="5">
                  <c:v>6</c:v>
                </c:pt>
                <c:pt idx="6">
                  <c:v>20</c:v>
                </c:pt>
              </c:numCache>
            </c:numRef>
          </c:val>
          <c:extLst>
            <c:ext xmlns:c16="http://schemas.microsoft.com/office/drawing/2014/chart" uri="{C3380CC4-5D6E-409C-BE32-E72D297353CC}">
              <c16:uniqueId val="{00000004-0E23-454D-B4C1-872D9949675A}"/>
            </c:ext>
          </c:extLst>
        </c:ser>
        <c:dLbls>
          <c:showLegendKey val="0"/>
          <c:showVal val="0"/>
          <c:showCatName val="0"/>
          <c:showSerName val="0"/>
          <c:showPercent val="0"/>
          <c:showBubbleSize val="0"/>
        </c:dLbls>
        <c:gapWidth val="150"/>
        <c:axId val="1531473887"/>
        <c:axId val="1531475967"/>
      </c:barChart>
      <c:catAx>
        <c:axId val="1531473887"/>
        <c:scaling>
          <c:orientation val="minMax"/>
        </c:scaling>
        <c:delete val="0"/>
        <c:axPos val="b"/>
        <c:majorGridlines>
          <c:spPr>
            <a:ln w="9525" cap="flat" cmpd="sng" algn="ctr">
              <a:solidFill>
                <a:schemeClr val="dk1">
                  <a:lumMod val="15000"/>
                  <a:lumOff val="85000"/>
                </a:schemeClr>
              </a:solidFill>
              <a:round/>
            </a:ln>
            <a:effectLst/>
          </c:spPr>
        </c:majorGridlines>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197" b="1" i="0" u="none" strike="noStrike" kern="1200" baseline="0">
                    <a:solidFill>
                      <a:srgbClr val="34373D">
                        <a:lumMod val="65000"/>
                        <a:lumOff val="35000"/>
                      </a:srgbClr>
                    </a:solidFill>
                    <a:latin typeface="+mn-lt"/>
                    <a:ea typeface="+mn-ea"/>
                    <a:cs typeface="+mn-cs"/>
                  </a:defRPr>
                </a:pPr>
                <a:r>
                  <a:rPr lang="en-US" sz="700" b="0" i="0" baseline="0" dirty="0">
                    <a:effectLst/>
                  </a:rPr>
                  <a:t>Unit: </a:t>
                </a:r>
                <a:r>
                  <a:rPr lang="en-US" sz="700" b="0" i="0" baseline="0" dirty="0" err="1">
                    <a:effectLst/>
                  </a:rPr>
                  <a:t>ktoe</a:t>
                </a:r>
                <a:r>
                  <a:rPr lang="en-US" sz="700" b="0" i="0" baseline="0" dirty="0">
                    <a:effectLst/>
                  </a:rPr>
                  <a:t> (</a:t>
                </a:r>
                <a:r>
                  <a:rPr lang="en-US" sz="700" b="0" i="0" baseline="0" dirty="0" err="1">
                    <a:effectLst/>
                  </a:rPr>
                  <a:t>kilotonne</a:t>
                </a:r>
                <a:r>
                  <a:rPr lang="en-US" sz="700" b="0" i="0" baseline="0" dirty="0">
                    <a:effectLst/>
                  </a:rPr>
                  <a:t> of oil equivalent)</a:t>
                </a:r>
                <a:endParaRPr lang="en-US" sz="700" dirty="0">
                  <a:effectLst/>
                </a:endParaRPr>
              </a:p>
            </c:rich>
          </c:tx>
          <c:layout>
            <c:manualLayout>
              <c:xMode val="edge"/>
              <c:yMode val="edge"/>
              <c:x val="0.69092685260790798"/>
              <c:y val="8.594484023888650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197" b="1" i="0" u="none" strike="noStrike" kern="1200" baseline="0">
                  <a:solidFill>
                    <a:srgbClr val="34373D">
                      <a:lumMod val="65000"/>
                      <a:lumOff val="35000"/>
                    </a:srgb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1531475967"/>
        <c:crosses val="autoZero"/>
        <c:auto val="1"/>
        <c:lblAlgn val="ctr"/>
        <c:lblOffset val="100"/>
        <c:noMultiLvlLbl val="0"/>
      </c:catAx>
      <c:valAx>
        <c:axId val="1531475967"/>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1531473887"/>
        <c:crosses val="autoZero"/>
        <c:crossBetween val="between"/>
        <c:majorUnit val="10000"/>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200" b="0" dirty="0"/>
              <a:t>Comparison of energy use per capita</a:t>
            </a:r>
          </a:p>
        </c:rich>
      </c:tx>
      <c:layout>
        <c:manualLayout>
          <c:xMode val="edge"/>
          <c:yMode val="edge"/>
          <c:x val="0.25340744666532067"/>
          <c:y val="1.3020833333333334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9.1914260717410323E-2"/>
          <c:y val="0.17171296296296296"/>
          <c:w val="0.85219685039370074"/>
          <c:h val="0.71589840332458454"/>
        </c:manualLayout>
      </c:layout>
      <c:lineChart>
        <c:grouping val="standard"/>
        <c:varyColors val="0"/>
        <c:ser>
          <c:idx val="0"/>
          <c:order val="0"/>
          <c:tx>
            <c:strRef>
              <c:f>'Metadata - Indicators'!$A$7:$D$7</c:f>
              <c:strCache>
                <c:ptCount val="4"/>
                <c:pt idx="0">
                  <c:v>Singapore</c:v>
                </c:pt>
              </c:strCache>
            </c:strRef>
          </c:tx>
          <c:spPr>
            <a:ln w="28575" cap="rnd">
              <a:solidFill>
                <a:schemeClr val="accent1"/>
              </a:solidFill>
              <a:round/>
            </a:ln>
            <a:effectLst/>
          </c:spPr>
          <c:marker>
            <c:symbol val="none"/>
          </c:marker>
          <c:cat>
            <c:strRef>
              <c:f>'Metadata - Indicators'!$E$6:$BG$6</c:f>
              <c:strCache>
                <c:ptCount val="55"/>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strCache>
            </c:strRef>
          </c:cat>
          <c:val>
            <c:numRef>
              <c:f>'Metadata - Indicators'!$E$7:$BG$7</c:f>
              <c:numCache>
                <c:formatCode>General</c:formatCode>
                <c:ptCount val="55"/>
                <c:pt idx="11">
                  <c:v>1292.241469070945</c:v>
                </c:pt>
                <c:pt idx="12">
                  <c:v>1569.4708232670507</c:v>
                </c:pt>
                <c:pt idx="13">
                  <c:v>1711.8358413132696</c:v>
                </c:pt>
                <c:pt idx="14">
                  <c:v>1795.9790115705446</c:v>
                </c:pt>
                <c:pt idx="15">
                  <c:v>1640.4883762043667</c:v>
                </c:pt>
                <c:pt idx="16">
                  <c:v>1693.2472855710112</c:v>
                </c:pt>
                <c:pt idx="17">
                  <c:v>1763.230120844622</c:v>
                </c:pt>
                <c:pt idx="18">
                  <c:v>2214.6303535010197</c:v>
                </c:pt>
                <c:pt idx="19">
                  <c:v>2130.842458569331</c:v>
                </c:pt>
                <c:pt idx="20">
                  <c:v>2125.9668302301834</c:v>
                </c:pt>
                <c:pt idx="21">
                  <c:v>2124.8533757627324</c:v>
                </c:pt>
                <c:pt idx="22">
                  <c:v>1987.0873081309185</c:v>
                </c:pt>
                <c:pt idx="23">
                  <c:v>2195.8903583320184</c:v>
                </c:pt>
                <c:pt idx="24">
                  <c:v>2455.4843843159101</c:v>
                </c:pt>
                <c:pt idx="25">
                  <c:v>2472.9683251600813</c:v>
                </c:pt>
                <c:pt idx="26">
                  <c:v>2630.7543829546862</c:v>
                </c:pt>
                <c:pt idx="27">
                  <c:v>2757.8806893064666</c:v>
                </c:pt>
                <c:pt idx="28">
                  <c:v>2981.1286149366083</c:v>
                </c:pt>
                <c:pt idx="29">
                  <c:v>2896.5000864921744</c:v>
                </c:pt>
                <c:pt idx="30">
                  <c:v>3782.7202759841057</c:v>
                </c:pt>
                <c:pt idx="31">
                  <c:v>4167.3655848983899</c:v>
                </c:pt>
                <c:pt idx="32">
                  <c:v>4588.845506450928</c:v>
                </c:pt>
                <c:pt idx="33">
                  <c:v>5487.6089152432605</c:v>
                </c:pt>
                <c:pt idx="34">
                  <c:v>6460.4819821189994</c:v>
                </c:pt>
                <c:pt idx="35">
                  <c:v>5346.8755621355167</c:v>
                </c:pt>
                <c:pt idx="36">
                  <c:v>5359.4098025882777</c:v>
                </c:pt>
                <c:pt idx="37">
                  <c:v>5818.3490260108038</c:v>
                </c:pt>
                <c:pt idx="38">
                  <c:v>5083.2496225694913</c:v>
                </c:pt>
                <c:pt idx="39">
                  <c:v>4587.493492219588</c:v>
                </c:pt>
                <c:pt idx="40">
                  <c:v>4634.7258500548787</c:v>
                </c:pt>
                <c:pt idx="41">
                  <c:v>5145.8857538354168</c:v>
                </c:pt>
                <c:pt idx="42">
                  <c:v>5065.984506519475</c:v>
                </c:pt>
                <c:pt idx="43">
                  <c:v>6216.7391768205998</c:v>
                </c:pt>
                <c:pt idx="44">
                  <c:v>7370.6528772178408</c:v>
                </c:pt>
                <c:pt idx="45">
                  <c:v>5055.9663197337313</c:v>
                </c:pt>
                <c:pt idx="46">
                  <c:v>5264.3986581435538</c:v>
                </c:pt>
                <c:pt idx="47">
                  <c:v>4677.2043057150986</c:v>
                </c:pt>
                <c:pt idx="48">
                  <c:v>5094.1357144569283</c:v>
                </c:pt>
                <c:pt idx="49">
                  <c:v>4257.7762771592515</c:v>
                </c:pt>
                <c:pt idx="50">
                  <c:v>5006.6209916142907</c:v>
                </c:pt>
                <c:pt idx="51">
                  <c:v>5069.1717942900887</c:v>
                </c:pt>
                <c:pt idx="52">
                  <c:v>4898.3304649071606</c:v>
                </c:pt>
                <c:pt idx="53">
                  <c:v>4880.4060704235217</c:v>
                </c:pt>
                <c:pt idx="54">
                  <c:v>5121.8043177315712</c:v>
                </c:pt>
              </c:numCache>
            </c:numRef>
          </c:val>
          <c:smooth val="0"/>
          <c:extLst>
            <c:ext xmlns:c16="http://schemas.microsoft.com/office/drawing/2014/chart" uri="{C3380CC4-5D6E-409C-BE32-E72D297353CC}">
              <c16:uniqueId val="{00000000-E71E-44A1-8FEC-0C142ECFB6D3}"/>
            </c:ext>
          </c:extLst>
        </c:ser>
        <c:dLbls>
          <c:showLegendKey val="0"/>
          <c:showVal val="0"/>
          <c:showCatName val="0"/>
          <c:showSerName val="0"/>
          <c:showPercent val="0"/>
          <c:showBubbleSize val="0"/>
        </c:dLbls>
        <c:smooth val="0"/>
        <c:axId val="1545875568"/>
        <c:axId val="1545853104"/>
      </c:lineChart>
      <c:catAx>
        <c:axId val="154587556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dirty="0"/>
                  <a:t>Unit: kg of oil equivalent</a:t>
                </a:r>
              </a:p>
            </c:rich>
          </c:tx>
          <c:layout>
            <c:manualLayout>
              <c:xMode val="edge"/>
              <c:yMode val="edge"/>
              <c:x val="0.73126577326872599"/>
              <c:y val="0.1117583934820647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5853104"/>
        <c:crosses val="autoZero"/>
        <c:auto val="1"/>
        <c:lblAlgn val="ctr"/>
        <c:lblOffset val="100"/>
        <c:tickLblSkip val="6"/>
        <c:tickMarkSkip val="1"/>
        <c:noMultiLvlLbl val="0"/>
      </c:catAx>
      <c:valAx>
        <c:axId val="1545853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5875568"/>
        <c:crosses val="autoZero"/>
        <c:crossBetween val="midCat"/>
        <c:majorUnit val="2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81041666666666656"/>
          <c:y val="4.6296296296296294E-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1"/>
          <c:order val="0"/>
          <c:tx>
            <c:strRef>
              <c:f>'Total energy supply (TES) by so'!$A$12</c:f>
              <c:strCache>
                <c:ptCount val="1"/>
                <c:pt idx="0">
                  <c:v>2018</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40DE-4798-8F23-106410A1D32D}"/>
              </c:ext>
            </c:extLst>
          </c:dPt>
          <c:dPt>
            <c:idx val="1"/>
            <c:bubble3D val="0"/>
            <c:spPr>
              <a:solidFill>
                <a:srgbClr val="FFC00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40DE-4798-8F23-106410A1D32D}"/>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40DE-4798-8F23-106410A1D32D}"/>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40DE-4798-8F23-106410A1D32D}"/>
              </c:ext>
            </c:extLst>
          </c:dPt>
          <c:dPt>
            <c:idx val="4"/>
            <c:bubble3D val="0"/>
            <c:spPr>
              <a:solidFill>
                <a:srgbClr val="FF000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40DE-4798-8F23-106410A1D32D}"/>
              </c:ext>
            </c:extLst>
          </c:dPt>
          <c:dLbls>
            <c:dLbl>
              <c:idx val="0"/>
              <c:layout>
                <c:manualLayout>
                  <c:x val="-7.1954943132108484E-2"/>
                  <c:y val="-2.5071813939924185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40DE-4798-8F23-106410A1D32D}"/>
                </c:ext>
              </c:extLst>
            </c:dLbl>
            <c:dLbl>
              <c:idx val="1"/>
              <c:layout>
                <c:manualLayout>
                  <c:x val="0.12315150220200635"/>
                  <c:y val="-1.0298927472512267E-2"/>
                </c:manualLayout>
              </c:layout>
              <c:tx>
                <c:rich>
                  <a:bodyPr/>
                  <a:lstStyle/>
                  <a:p>
                    <a:r>
                      <a:rPr lang="en-US" dirty="0"/>
                      <a:t>&lt;</a:t>
                    </a:r>
                    <a:fld id="{33384017-AD8A-4FB0-865F-9F84D9E988AF}" type="PERCENTAGE">
                      <a:rPr lang="en-US" smtClean="0"/>
                      <a:pPr/>
                      <a:t>[PERCENTAGE]</a:t>
                    </a:fld>
                    <a:endParaRPr lang="en-US" dirty="0"/>
                  </a:p>
                </c:rich>
              </c:tx>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0DE-4798-8F23-106410A1D32D}"/>
                </c:ext>
              </c:extLst>
            </c:dLbl>
            <c:dLbl>
              <c:idx val="2"/>
              <c:layout>
                <c:manualLayout>
                  <c:x val="4.124379426585667E-2"/>
                  <c:y val="-1.0182454395313994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40DE-4798-8F23-106410A1D32D}"/>
                </c:ext>
              </c:extLst>
            </c:dLbl>
            <c:dLbl>
              <c:idx val="3"/>
              <c:layout>
                <c:manualLayout>
                  <c:x val="-1.7401780376385702E-2"/>
                  <c:y val="-4.3301070451962818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40DE-4798-8F23-106410A1D32D}"/>
                </c:ext>
              </c:extLst>
            </c:dLbl>
            <c:dLbl>
              <c:idx val="4"/>
              <c:delete val="1"/>
              <c:extLst>
                <c:ext xmlns:c15="http://schemas.microsoft.com/office/drawing/2012/chart" uri="{CE6537A1-D6FC-4f65-9D91-7224C49458BB}"/>
                <c:ext xmlns:c16="http://schemas.microsoft.com/office/drawing/2014/chart" uri="{C3380CC4-5D6E-409C-BE32-E72D297353CC}">
                  <c16:uniqueId val="{00000009-40DE-4798-8F23-106410A1D32D}"/>
                </c:ext>
              </c:extLst>
            </c:dLbl>
            <c:spPr>
              <a:pattFill prst="pct75">
                <a:fgClr>
                  <a:sysClr val="windowText" lastClr="000000">
                    <a:lumMod val="75000"/>
                    <a:lumOff val="25000"/>
                  </a:sysClr>
                </a:fgClr>
                <a:bgClr>
                  <a:sysClr val="windowText" lastClr="000000">
                    <a:lumMod val="65000"/>
                    <a:lumOff val="35000"/>
                  </a:sys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Total energy supply (TES) by so'!$B$5:$F$5</c:f>
              <c:strCache>
                <c:ptCount val="5"/>
                <c:pt idx="0">
                  <c:v>Coal</c:v>
                </c:pt>
                <c:pt idx="1">
                  <c:v>Biofuels and waste</c:v>
                </c:pt>
                <c:pt idx="2">
                  <c:v>Oil</c:v>
                </c:pt>
                <c:pt idx="3">
                  <c:v>Natural gas</c:v>
                </c:pt>
                <c:pt idx="4">
                  <c:v>Wind, solar, etc.</c:v>
                </c:pt>
              </c:strCache>
            </c:strRef>
          </c:cat>
          <c:val>
            <c:numRef>
              <c:f>'Total energy supply (TES) by so'!$B$12:$F$12</c:f>
              <c:numCache>
                <c:formatCode>General</c:formatCode>
                <c:ptCount val="5"/>
                <c:pt idx="0">
                  <c:v>478</c:v>
                </c:pt>
                <c:pt idx="1">
                  <c:v>670</c:v>
                </c:pt>
                <c:pt idx="2">
                  <c:v>27621</c:v>
                </c:pt>
                <c:pt idx="3">
                  <c:v>8963</c:v>
                </c:pt>
                <c:pt idx="4">
                  <c:v>20</c:v>
                </c:pt>
              </c:numCache>
            </c:numRef>
          </c:val>
          <c:extLst>
            <c:ext xmlns:c16="http://schemas.microsoft.com/office/drawing/2014/chart" uri="{C3380CC4-5D6E-409C-BE32-E72D297353CC}">
              <c16:uniqueId val="{0000000A-40DE-4798-8F23-106410A1D32D}"/>
            </c:ext>
          </c:extLst>
        </c:ser>
        <c:ser>
          <c:idx val="0"/>
          <c:order val="1"/>
          <c:tx>
            <c:strRef>
              <c:f>'Total energy supply (TES) by so'!$A$12</c:f>
              <c:strCache>
                <c:ptCount val="1"/>
                <c:pt idx="0">
                  <c:v>2018</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C-40DE-4798-8F23-106410A1D32D}"/>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E-40DE-4798-8F23-106410A1D32D}"/>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0-40DE-4798-8F23-106410A1D32D}"/>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2-40DE-4798-8F23-106410A1D32D}"/>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4-40DE-4798-8F23-106410A1D32D}"/>
              </c:ext>
            </c:extLst>
          </c:dPt>
          <c:dLbls>
            <c:dLbl>
              <c:idx val="0"/>
              <c:delete val="1"/>
              <c:extLst>
                <c:ext xmlns:c15="http://schemas.microsoft.com/office/drawing/2012/chart" uri="{CE6537A1-D6FC-4f65-9D91-7224C49458BB}"/>
                <c:ext xmlns:c16="http://schemas.microsoft.com/office/drawing/2014/chart" uri="{C3380CC4-5D6E-409C-BE32-E72D297353CC}">
                  <c16:uniqueId val="{0000000C-40DE-4798-8F23-106410A1D32D}"/>
                </c:ext>
              </c:extLst>
            </c:dLbl>
            <c:dLbl>
              <c:idx val="1"/>
              <c:delete val="1"/>
              <c:extLst>
                <c:ext xmlns:c15="http://schemas.microsoft.com/office/drawing/2012/chart" uri="{CE6537A1-D6FC-4f65-9D91-7224C49458BB}"/>
                <c:ext xmlns:c16="http://schemas.microsoft.com/office/drawing/2014/chart" uri="{C3380CC4-5D6E-409C-BE32-E72D297353CC}">
                  <c16:uniqueId val="{0000000E-40DE-4798-8F23-106410A1D32D}"/>
                </c:ext>
              </c:extLst>
            </c:dLbl>
            <c:dLbl>
              <c:idx val="4"/>
              <c:delete val="1"/>
              <c:extLst>
                <c:ext xmlns:c15="http://schemas.microsoft.com/office/drawing/2012/chart" uri="{CE6537A1-D6FC-4f65-9D91-7224C49458BB}"/>
                <c:ext xmlns:c16="http://schemas.microsoft.com/office/drawing/2014/chart" uri="{C3380CC4-5D6E-409C-BE32-E72D297353CC}">
                  <c16:uniqueId val="{00000014-40DE-4798-8F23-106410A1D32D}"/>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Total energy supply (TES) by so'!$B$5:$F$5</c:f>
              <c:strCache>
                <c:ptCount val="5"/>
                <c:pt idx="0">
                  <c:v>Coal</c:v>
                </c:pt>
                <c:pt idx="1">
                  <c:v>Biofuels and waste</c:v>
                </c:pt>
                <c:pt idx="2">
                  <c:v>Oil</c:v>
                </c:pt>
                <c:pt idx="3">
                  <c:v>Natural gas</c:v>
                </c:pt>
                <c:pt idx="4">
                  <c:v>Wind, solar, etc.</c:v>
                </c:pt>
              </c:strCache>
            </c:strRef>
          </c:cat>
          <c:val>
            <c:numRef>
              <c:f>'Total energy supply (TES) by so'!$B$12:$F$12</c:f>
              <c:numCache>
                <c:formatCode>General</c:formatCode>
                <c:ptCount val="5"/>
                <c:pt idx="0">
                  <c:v>478</c:v>
                </c:pt>
                <c:pt idx="1">
                  <c:v>670</c:v>
                </c:pt>
                <c:pt idx="2">
                  <c:v>27621</c:v>
                </c:pt>
                <c:pt idx="3">
                  <c:v>8963</c:v>
                </c:pt>
                <c:pt idx="4">
                  <c:v>20</c:v>
                </c:pt>
              </c:numCache>
            </c:numRef>
          </c:val>
          <c:extLst>
            <c:ext xmlns:c16="http://schemas.microsoft.com/office/drawing/2014/chart" uri="{C3380CC4-5D6E-409C-BE32-E72D297353CC}">
              <c16:uniqueId val="{00000015-40DE-4798-8F23-106410A1D32D}"/>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dirty="0"/>
              <a:t>Total electricity consumption (TFC) by sector, Singapore 1990-2018 </a:t>
            </a:r>
          </a:p>
        </c:rich>
      </c:tx>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en-US"/>
        </a:p>
      </c:txPr>
    </c:title>
    <c:autoTitleDeleted val="0"/>
    <c:plotArea>
      <c:layout>
        <c:manualLayout>
          <c:layoutTarget val="inner"/>
          <c:xMode val="edge"/>
          <c:yMode val="edge"/>
          <c:x val="9.1914260717410323E-2"/>
          <c:y val="0.30969252899181032"/>
          <c:w val="0.87753018372703417"/>
          <c:h val="0.59223668432799803"/>
        </c:manualLayout>
      </c:layout>
      <c:lineChart>
        <c:grouping val="standard"/>
        <c:varyColors val="0"/>
        <c:ser>
          <c:idx val="0"/>
          <c:order val="0"/>
          <c:tx>
            <c:strRef>
              <c:f>'Electricity final consumption b'!$B$5</c:f>
              <c:strCache>
                <c:ptCount val="1"/>
                <c:pt idx="0">
                  <c:v>Industry</c:v>
                </c:pt>
              </c:strCache>
            </c:strRef>
          </c:tx>
          <c:spPr>
            <a:ln w="22225" cap="rnd">
              <a:solidFill>
                <a:schemeClr val="accent1"/>
              </a:solidFill>
            </a:ln>
            <a:effectLst>
              <a:glow rad="139700">
                <a:schemeClr val="accent1">
                  <a:satMod val="175000"/>
                  <a:alpha val="14000"/>
                </a:schemeClr>
              </a:glow>
            </a:effectLst>
          </c:spPr>
          <c:marker>
            <c:symbol val="none"/>
          </c:marker>
          <c:cat>
            <c:numRef>
              <c:f>'Electricity final consumption b'!$A$6:$A$12</c:f>
              <c:numCache>
                <c:formatCode>General</c:formatCode>
                <c:ptCount val="7"/>
                <c:pt idx="0">
                  <c:v>1990</c:v>
                </c:pt>
                <c:pt idx="1">
                  <c:v>1995</c:v>
                </c:pt>
                <c:pt idx="2">
                  <c:v>2000</c:v>
                </c:pt>
                <c:pt idx="3">
                  <c:v>2005</c:v>
                </c:pt>
                <c:pt idx="4">
                  <c:v>2010</c:v>
                </c:pt>
                <c:pt idx="5">
                  <c:v>2015</c:v>
                </c:pt>
                <c:pt idx="6">
                  <c:v>2018</c:v>
                </c:pt>
              </c:numCache>
            </c:numRef>
          </c:cat>
          <c:val>
            <c:numRef>
              <c:f>'Electricity final consumption b'!$B$6:$B$12</c:f>
              <c:numCache>
                <c:formatCode>General</c:formatCode>
                <c:ptCount val="7"/>
                <c:pt idx="0">
                  <c:v>473</c:v>
                </c:pt>
                <c:pt idx="1">
                  <c:v>604</c:v>
                </c:pt>
                <c:pt idx="2">
                  <c:v>916</c:v>
                </c:pt>
                <c:pt idx="3">
                  <c:v>1212</c:v>
                </c:pt>
                <c:pt idx="4">
                  <c:v>1446</c:v>
                </c:pt>
                <c:pt idx="5">
                  <c:v>1621</c:v>
                </c:pt>
                <c:pt idx="6">
                  <c:v>1714</c:v>
                </c:pt>
              </c:numCache>
            </c:numRef>
          </c:val>
          <c:smooth val="0"/>
          <c:extLst>
            <c:ext xmlns:c16="http://schemas.microsoft.com/office/drawing/2014/chart" uri="{C3380CC4-5D6E-409C-BE32-E72D297353CC}">
              <c16:uniqueId val="{00000000-600D-4FD2-B3AA-0F9491A6769A}"/>
            </c:ext>
          </c:extLst>
        </c:ser>
        <c:ser>
          <c:idx val="1"/>
          <c:order val="1"/>
          <c:tx>
            <c:strRef>
              <c:f>'Electricity final consumption b'!$C$5</c:f>
              <c:strCache>
                <c:ptCount val="1"/>
                <c:pt idx="0">
                  <c:v>Transport</c:v>
                </c:pt>
              </c:strCache>
            </c:strRef>
          </c:tx>
          <c:spPr>
            <a:ln w="22225" cap="rnd">
              <a:solidFill>
                <a:schemeClr val="accent2"/>
              </a:solidFill>
            </a:ln>
            <a:effectLst>
              <a:glow rad="139700">
                <a:schemeClr val="accent2">
                  <a:satMod val="175000"/>
                  <a:alpha val="14000"/>
                </a:schemeClr>
              </a:glow>
            </a:effectLst>
          </c:spPr>
          <c:marker>
            <c:symbol val="none"/>
          </c:marker>
          <c:cat>
            <c:numRef>
              <c:f>'Electricity final consumption b'!$A$6:$A$12</c:f>
              <c:numCache>
                <c:formatCode>General</c:formatCode>
                <c:ptCount val="7"/>
                <c:pt idx="0">
                  <c:v>1990</c:v>
                </c:pt>
                <c:pt idx="1">
                  <c:v>1995</c:v>
                </c:pt>
                <c:pt idx="2">
                  <c:v>2000</c:v>
                </c:pt>
                <c:pt idx="3">
                  <c:v>2005</c:v>
                </c:pt>
                <c:pt idx="4">
                  <c:v>2010</c:v>
                </c:pt>
                <c:pt idx="5">
                  <c:v>2015</c:v>
                </c:pt>
                <c:pt idx="6">
                  <c:v>2018</c:v>
                </c:pt>
              </c:numCache>
            </c:numRef>
          </c:cat>
          <c:val>
            <c:numRef>
              <c:f>'Electricity final consumption b'!$C$6:$C$12</c:f>
              <c:numCache>
                <c:formatCode>General</c:formatCode>
                <c:ptCount val="7"/>
                <c:pt idx="0">
                  <c:v>16</c:v>
                </c:pt>
                <c:pt idx="1">
                  <c:v>17</c:v>
                </c:pt>
                <c:pt idx="2">
                  <c:v>25</c:v>
                </c:pt>
                <c:pt idx="3">
                  <c:v>103</c:v>
                </c:pt>
                <c:pt idx="4">
                  <c:v>180</c:v>
                </c:pt>
                <c:pt idx="5">
                  <c:v>210</c:v>
                </c:pt>
                <c:pt idx="6">
                  <c:v>253</c:v>
                </c:pt>
              </c:numCache>
            </c:numRef>
          </c:val>
          <c:smooth val="0"/>
          <c:extLst>
            <c:ext xmlns:c16="http://schemas.microsoft.com/office/drawing/2014/chart" uri="{C3380CC4-5D6E-409C-BE32-E72D297353CC}">
              <c16:uniqueId val="{00000001-600D-4FD2-B3AA-0F9491A6769A}"/>
            </c:ext>
          </c:extLst>
        </c:ser>
        <c:ser>
          <c:idx val="2"/>
          <c:order val="2"/>
          <c:tx>
            <c:strRef>
              <c:f>'Electricity final consumption b'!$D$5</c:f>
              <c:strCache>
                <c:ptCount val="1"/>
                <c:pt idx="0">
                  <c:v>Residential</c:v>
                </c:pt>
              </c:strCache>
            </c:strRef>
          </c:tx>
          <c:spPr>
            <a:ln w="22225" cap="rnd">
              <a:solidFill>
                <a:schemeClr val="accent3"/>
              </a:solidFill>
            </a:ln>
            <a:effectLst>
              <a:glow rad="139700">
                <a:schemeClr val="accent3">
                  <a:satMod val="175000"/>
                  <a:alpha val="14000"/>
                </a:schemeClr>
              </a:glow>
            </a:effectLst>
          </c:spPr>
          <c:marker>
            <c:symbol val="none"/>
          </c:marker>
          <c:cat>
            <c:numRef>
              <c:f>'Electricity final consumption b'!$A$6:$A$12</c:f>
              <c:numCache>
                <c:formatCode>General</c:formatCode>
                <c:ptCount val="7"/>
                <c:pt idx="0">
                  <c:v>1990</c:v>
                </c:pt>
                <c:pt idx="1">
                  <c:v>1995</c:v>
                </c:pt>
                <c:pt idx="2">
                  <c:v>2000</c:v>
                </c:pt>
                <c:pt idx="3">
                  <c:v>2005</c:v>
                </c:pt>
                <c:pt idx="4">
                  <c:v>2010</c:v>
                </c:pt>
                <c:pt idx="5">
                  <c:v>2015</c:v>
                </c:pt>
                <c:pt idx="6">
                  <c:v>2018</c:v>
                </c:pt>
              </c:numCache>
            </c:numRef>
          </c:cat>
          <c:val>
            <c:numRef>
              <c:f>'Electricity final consumption b'!$D$6:$D$12</c:f>
              <c:numCache>
                <c:formatCode>General</c:formatCode>
                <c:ptCount val="7"/>
                <c:pt idx="0">
                  <c:v>206</c:v>
                </c:pt>
                <c:pt idx="1">
                  <c:v>330</c:v>
                </c:pt>
                <c:pt idx="2">
                  <c:v>492</c:v>
                </c:pt>
                <c:pt idx="3">
                  <c:v>524</c:v>
                </c:pt>
                <c:pt idx="4">
                  <c:v>571</c:v>
                </c:pt>
                <c:pt idx="5">
                  <c:v>621</c:v>
                </c:pt>
                <c:pt idx="6">
                  <c:v>621</c:v>
                </c:pt>
              </c:numCache>
            </c:numRef>
          </c:val>
          <c:smooth val="0"/>
          <c:extLst>
            <c:ext xmlns:c16="http://schemas.microsoft.com/office/drawing/2014/chart" uri="{C3380CC4-5D6E-409C-BE32-E72D297353CC}">
              <c16:uniqueId val="{00000002-600D-4FD2-B3AA-0F9491A6769A}"/>
            </c:ext>
          </c:extLst>
        </c:ser>
        <c:ser>
          <c:idx val="3"/>
          <c:order val="3"/>
          <c:tx>
            <c:strRef>
              <c:f>'Electricity final consumption b'!$E$5</c:f>
              <c:strCache>
                <c:ptCount val="1"/>
                <c:pt idx="0">
                  <c:v>Commercial and public services</c:v>
                </c:pt>
              </c:strCache>
            </c:strRef>
          </c:tx>
          <c:spPr>
            <a:ln w="22225" cap="rnd">
              <a:solidFill>
                <a:schemeClr val="accent4"/>
              </a:solidFill>
            </a:ln>
            <a:effectLst>
              <a:glow rad="139700">
                <a:schemeClr val="accent4">
                  <a:satMod val="175000"/>
                  <a:alpha val="14000"/>
                </a:schemeClr>
              </a:glow>
            </a:effectLst>
          </c:spPr>
          <c:marker>
            <c:symbol val="none"/>
          </c:marker>
          <c:cat>
            <c:numRef>
              <c:f>'Electricity final consumption b'!$A$6:$A$12</c:f>
              <c:numCache>
                <c:formatCode>General</c:formatCode>
                <c:ptCount val="7"/>
                <c:pt idx="0">
                  <c:v>1990</c:v>
                </c:pt>
                <c:pt idx="1">
                  <c:v>1995</c:v>
                </c:pt>
                <c:pt idx="2">
                  <c:v>2000</c:v>
                </c:pt>
                <c:pt idx="3">
                  <c:v>2005</c:v>
                </c:pt>
                <c:pt idx="4">
                  <c:v>2010</c:v>
                </c:pt>
                <c:pt idx="5">
                  <c:v>2015</c:v>
                </c:pt>
                <c:pt idx="6">
                  <c:v>2018</c:v>
                </c:pt>
              </c:numCache>
            </c:numRef>
          </c:cat>
          <c:val>
            <c:numRef>
              <c:f>'Electricity final consumption b'!$E$6:$E$12</c:f>
              <c:numCache>
                <c:formatCode>General</c:formatCode>
                <c:ptCount val="7"/>
                <c:pt idx="0">
                  <c:v>418</c:v>
                </c:pt>
                <c:pt idx="1">
                  <c:v>620</c:v>
                </c:pt>
                <c:pt idx="2">
                  <c:v>911</c:v>
                </c:pt>
                <c:pt idx="3">
                  <c:v>1160</c:v>
                </c:pt>
                <c:pt idx="4">
                  <c:v>1403</c:v>
                </c:pt>
                <c:pt idx="5">
                  <c:v>1609</c:v>
                </c:pt>
                <c:pt idx="6">
                  <c:v>1727</c:v>
                </c:pt>
              </c:numCache>
            </c:numRef>
          </c:val>
          <c:smooth val="0"/>
          <c:extLst>
            <c:ext xmlns:c16="http://schemas.microsoft.com/office/drawing/2014/chart" uri="{C3380CC4-5D6E-409C-BE32-E72D297353CC}">
              <c16:uniqueId val="{00000003-600D-4FD2-B3AA-0F9491A6769A}"/>
            </c:ext>
          </c:extLst>
        </c:ser>
        <c:ser>
          <c:idx val="4"/>
          <c:order val="4"/>
          <c:tx>
            <c:strRef>
              <c:f>'Electricity final consumption b'!$F$5</c:f>
              <c:strCache>
                <c:ptCount val="1"/>
                <c:pt idx="0">
                  <c:v>Agriculture / forestry</c:v>
                </c:pt>
              </c:strCache>
            </c:strRef>
          </c:tx>
          <c:spPr>
            <a:ln w="22225" cap="rnd">
              <a:solidFill>
                <a:schemeClr val="accent5"/>
              </a:solidFill>
            </a:ln>
            <a:effectLst>
              <a:glow rad="139700">
                <a:schemeClr val="accent5">
                  <a:satMod val="175000"/>
                  <a:alpha val="14000"/>
                </a:schemeClr>
              </a:glow>
            </a:effectLst>
          </c:spPr>
          <c:marker>
            <c:symbol val="none"/>
          </c:marker>
          <c:cat>
            <c:numRef>
              <c:f>'Electricity final consumption b'!$A$6:$A$12</c:f>
              <c:numCache>
                <c:formatCode>General</c:formatCode>
                <c:ptCount val="7"/>
                <c:pt idx="0">
                  <c:v>1990</c:v>
                </c:pt>
                <c:pt idx="1">
                  <c:v>1995</c:v>
                </c:pt>
                <c:pt idx="2">
                  <c:v>2000</c:v>
                </c:pt>
                <c:pt idx="3">
                  <c:v>2005</c:v>
                </c:pt>
                <c:pt idx="4">
                  <c:v>2010</c:v>
                </c:pt>
                <c:pt idx="5">
                  <c:v>2015</c:v>
                </c:pt>
                <c:pt idx="6">
                  <c:v>2018</c:v>
                </c:pt>
              </c:numCache>
            </c:numRef>
          </c:cat>
          <c:val>
            <c:numRef>
              <c:f>'Electricity final consumption b'!$F$6:$F$12</c:f>
              <c:numCache>
                <c:formatCode>General</c:formatCode>
                <c:ptCount val="7"/>
                <c:pt idx="0">
                  <c:v>1</c:v>
                </c:pt>
                <c:pt idx="1">
                  <c:v>2</c:v>
                </c:pt>
                <c:pt idx="2">
                  <c:v>3</c:v>
                </c:pt>
              </c:numCache>
            </c:numRef>
          </c:val>
          <c:smooth val="0"/>
          <c:extLst>
            <c:ext xmlns:c16="http://schemas.microsoft.com/office/drawing/2014/chart" uri="{C3380CC4-5D6E-409C-BE32-E72D297353CC}">
              <c16:uniqueId val="{00000004-600D-4FD2-B3AA-0F9491A6769A}"/>
            </c:ext>
          </c:extLst>
        </c:ser>
        <c:ser>
          <c:idx val="5"/>
          <c:order val="5"/>
          <c:tx>
            <c:strRef>
              <c:f>'Electricity final consumption b'!$G$5</c:f>
              <c:strCache>
                <c:ptCount val="1"/>
                <c:pt idx="0">
                  <c:v>Non-specified</c:v>
                </c:pt>
              </c:strCache>
            </c:strRef>
          </c:tx>
          <c:spPr>
            <a:ln w="22225" cap="rnd">
              <a:solidFill>
                <a:schemeClr val="accent6"/>
              </a:solidFill>
            </a:ln>
            <a:effectLst>
              <a:glow rad="139700">
                <a:schemeClr val="accent6">
                  <a:satMod val="175000"/>
                  <a:alpha val="14000"/>
                </a:schemeClr>
              </a:glow>
            </a:effectLst>
          </c:spPr>
          <c:marker>
            <c:symbol val="none"/>
          </c:marker>
          <c:cat>
            <c:numRef>
              <c:f>'Electricity final consumption b'!$A$6:$A$12</c:f>
              <c:numCache>
                <c:formatCode>General</c:formatCode>
                <c:ptCount val="7"/>
                <c:pt idx="0">
                  <c:v>1990</c:v>
                </c:pt>
                <c:pt idx="1">
                  <c:v>1995</c:v>
                </c:pt>
                <c:pt idx="2">
                  <c:v>2000</c:v>
                </c:pt>
                <c:pt idx="3">
                  <c:v>2005</c:v>
                </c:pt>
                <c:pt idx="4">
                  <c:v>2010</c:v>
                </c:pt>
                <c:pt idx="5">
                  <c:v>2015</c:v>
                </c:pt>
                <c:pt idx="6">
                  <c:v>2018</c:v>
                </c:pt>
              </c:numCache>
            </c:numRef>
          </c:cat>
          <c:val>
            <c:numRef>
              <c:f>'Electricity final consumption b'!$G$6:$G$12</c:f>
              <c:numCache>
                <c:formatCode>General</c:formatCode>
                <c:ptCount val="7"/>
                <c:pt idx="3">
                  <c:v>53</c:v>
                </c:pt>
                <c:pt idx="4">
                  <c:v>33</c:v>
                </c:pt>
                <c:pt idx="5">
                  <c:v>24</c:v>
                </c:pt>
                <c:pt idx="6">
                  <c:v>23</c:v>
                </c:pt>
              </c:numCache>
            </c:numRef>
          </c:val>
          <c:smooth val="0"/>
          <c:extLst>
            <c:ext xmlns:c16="http://schemas.microsoft.com/office/drawing/2014/chart" uri="{C3380CC4-5D6E-409C-BE32-E72D297353CC}">
              <c16:uniqueId val="{00000005-600D-4FD2-B3AA-0F9491A6769A}"/>
            </c:ext>
          </c:extLst>
        </c:ser>
        <c:dLbls>
          <c:showLegendKey val="0"/>
          <c:showVal val="0"/>
          <c:showCatName val="0"/>
          <c:showSerName val="0"/>
          <c:showPercent val="0"/>
          <c:showBubbleSize val="0"/>
        </c:dLbls>
        <c:smooth val="0"/>
        <c:axId val="1985289872"/>
        <c:axId val="1985290288"/>
      </c:lineChart>
      <c:catAx>
        <c:axId val="1985289872"/>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r>
                  <a:rPr lang="en-US" sz="800" b="0" i="0" baseline="0">
                    <a:effectLst/>
                  </a:rPr>
                  <a:t>Unit: ktoe (kilotonne of oil equivalent)</a:t>
                </a:r>
                <a:endParaRPr lang="en-US" sz="100">
                  <a:effectLst/>
                </a:endParaRPr>
              </a:p>
            </c:rich>
          </c:tx>
          <c:layout>
            <c:manualLayout>
              <c:xMode val="edge"/>
              <c:yMode val="edge"/>
              <c:x val="0.67192784489299251"/>
              <c:y val="0.26809262440636966"/>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1985290288"/>
        <c:crosses val="autoZero"/>
        <c:auto val="1"/>
        <c:lblAlgn val="ctr"/>
        <c:lblOffset val="100"/>
        <c:noMultiLvlLbl val="0"/>
      </c:catAx>
      <c:valAx>
        <c:axId val="1985290288"/>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198528987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atin typeface="+mn-lt"/>
              </a:rPr>
              <a:t>Share of primary energy from low-carbon*sources</a:t>
            </a:r>
            <a:endParaRPr lang="en-US" dirty="0">
              <a:latin typeface="+mn-lt"/>
            </a:endParaRPr>
          </a:p>
        </c:rich>
      </c:tx>
      <c:layout>
        <c:manualLayout>
          <c:xMode val="edge"/>
          <c:yMode val="edge"/>
          <c:x val="0.10666318150845269"/>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5553149606299214E-2"/>
          <c:y val="0.17171296296296296"/>
          <c:w val="0.87620363079615049"/>
          <c:h val="0.67975247885680956"/>
        </c:manualLayout>
      </c:layout>
      <c:lineChart>
        <c:grouping val="standard"/>
        <c:varyColors val="0"/>
        <c:ser>
          <c:idx val="0"/>
          <c:order val="0"/>
          <c:tx>
            <c:strRef>
              <c:f>'low-carbon-share-energy'!$C$1</c:f>
              <c:strCache>
                <c:ptCount val="1"/>
                <c:pt idx="0">
                  <c:v>Low-carbon energy (% sub energy)</c:v>
                </c:pt>
              </c:strCache>
            </c:strRef>
          </c:tx>
          <c:spPr>
            <a:ln w="28575" cap="rnd">
              <a:solidFill>
                <a:schemeClr val="accent1"/>
              </a:solidFill>
              <a:round/>
            </a:ln>
            <a:effectLst/>
          </c:spPr>
          <c:marker>
            <c:symbol val="none"/>
          </c:marker>
          <c:cat>
            <c:numRef>
              <c:f>('low-carbon-share-energy'!$B$2,'low-carbon-share-energy'!$B$7,'low-carbon-share-energy'!$B$12,'low-carbon-share-energy'!$B$17,'low-carbon-share-energy'!$B$22,'low-carbon-share-energy'!$B$27,'low-carbon-share-energy'!$B$32,'low-carbon-share-energy'!$B$36)</c:f>
              <c:numCache>
                <c:formatCode>General</c:formatCode>
                <c:ptCount val="8"/>
                <c:pt idx="0">
                  <c:v>1985</c:v>
                </c:pt>
                <c:pt idx="1">
                  <c:v>1990</c:v>
                </c:pt>
                <c:pt idx="2">
                  <c:v>1995</c:v>
                </c:pt>
                <c:pt idx="3">
                  <c:v>2000</c:v>
                </c:pt>
                <c:pt idx="4">
                  <c:v>2005</c:v>
                </c:pt>
                <c:pt idx="5">
                  <c:v>2010</c:v>
                </c:pt>
                <c:pt idx="6">
                  <c:v>2015</c:v>
                </c:pt>
                <c:pt idx="7">
                  <c:v>2019</c:v>
                </c:pt>
              </c:numCache>
            </c:numRef>
          </c:cat>
          <c:val>
            <c:numRef>
              <c:f>('low-carbon-share-energy'!$C$2,'low-carbon-share-energy'!$C$7,'low-carbon-share-energy'!$C$12,'low-carbon-share-energy'!$C$17,'low-carbon-share-energy'!$C$22,'low-carbon-share-energy'!$C$27,'low-carbon-share-energy'!$C$32,'low-carbon-share-energy'!$C$36)</c:f>
              <c:numCache>
                <c:formatCode>General</c:formatCode>
                <c:ptCount val="8"/>
                <c:pt idx="0">
                  <c:v>0</c:v>
                </c:pt>
                <c:pt idx="1">
                  <c:v>8.5999999999999993E-2</c:v>
                </c:pt>
                <c:pt idx="2">
                  <c:v>0.17499999999999999</c:v>
                </c:pt>
                <c:pt idx="3">
                  <c:v>0.154</c:v>
                </c:pt>
                <c:pt idx="4">
                  <c:v>0.23400000000000001</c:v>
                </c:pt>
                <c:pt idx="5">
                  <c:v>0.193</c:v>
                </c:pt>
                <c:pt idx="6">
                  <c:v>0.23400000000000001</c:v>
                </c:pt>
                <c:pt idx="7">
                  <c:v>0.23899999999999999</c:v>
                </c:pt>
              </c:numCache>
              <c:extLst/>
            </c:numRef>
          </c:val>
          <c:smooth val="0"/>
          <c:extLst>
            <c:ext xmlns:c16="http://schemas.microsoft.com/office/drawing/2014/chart" uri="{C3380CC4-5D6E-409C-BE32-E72D297353CC}">
              <c16:uniqueId val="{00000000-DD29-4A00-B284-EF75C684D611}"/>
            </c:ext>
          </c:extLst>
        </c:ser>
        <c:dLbls>
          <c:showLegendKey val="0"/>
          <c:showVal val="0"/>
          <c:showCatName val="0"/>
          <c:showSerName val="0"/>
          <c:showPercent val="0"/>
          <c:showBubbleSize val="0"/>
        </c:dLbls>
        <c:smooth val="0"/>
        <c:axId val="79834320"/>
        <c:axId val="79828496"/>
      </c:lineChart>
      <c:catAx>
        <c:axId val="798343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Unit: percent (%) </a:t>
                </a:r>
              </a:p>
            </c:rich>
          </c:tx>
          <c:layout>
            <c:manualLayout>
              <c:xMode val="edge"/>
              <c:yMode val="edge"/>
              <c:x val="0.8592521872265968"/>
              <c:y val="0.1055322251385243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828496"/>
        <c:crosses val="autoZero"/>
        <c:auto val="1"/>
        <c:lblAlgn val="ctr"/>
        <c:lblOffset val="100"/>
        <c:noMultiLvlLbl val="0"/>
      </c:catAx>
      <c:valAx>
        <c:axId val="79828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834320"/>
        <c:crosses val="autoZero"/>
        <c:crossBetween val="between"/>
      </c:valAx>
      <c:spPr>
        <a:noFill/>
        <a:ln>
          <a:noFill/>
        </a:ln>
        <a:effectLst/>
      </c:spPr>
    </c:plotArea>
    <c:plotVisOnly val="1"/>
    <c:dispBlanksAs val="gap"/>
    <c:showDLblsOverMax val="0"/>
  </c:chart>
  <c:spPr>
    <a:solidFill>
      <a:srgbClr val="FFFFFF"/>
    </a:solid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latin typeface="Calibri" panose="020F0502020204030204" pitchFamily="34" charset="0"/>
                <a:cs typeface="Calibri" panose="020F0502020204030204" pitchFamily="34" charset="0"/>
              </a:rPr>
              <a:t>Renewable electricity generation from</a:t>
            </a:r>
            <a:r>
              <a:rPr lang="en-US" baseline="0" dirty="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non-combustible</a:t>
            </a:r>
            <a:r>
              <a:rPr lang="en-US" baseline="0" dirty="0">
                <a:latin typeface="Calibri" panose="020F0502020204030204" pitchFamily="34" charset="0"/>
                <a:cs typeface="Calibri" panose="020F0502020204030204" pitchFamily="34" charset="0"/>
              </a:rPr>
              <a:t> sources</a:t>
            </a:r>
            <a:endParaRPr lang="en-US" dirty="0">
              <a:latin typeface="Calibri" panose="020F0502020204030204" pitchFamily="34" charset="0"/>
              <a:cs typeface="Calibri" panose="020F050202020403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420558178878864"/>
          <c:y val="0.25083333333333335"/>
          <c:w val="0.70143504946918367"/>
          <c:h val="0.64740740740740743"/>
        </c:manualLayout>
      </c:layout>
      <c:barChart>
        <c:barDir val="col"/>
        <c:grouping val="clustered"/>
        <c:varyColors val="0"/>
        <c:ser>
          <c:idx val="0"/>
          <c:order val="0"/>
          <c:tx>
            <c:strRef>
              <c:f>'Renewable electricity generatio'!$B$5</c:f>
              <c:strCache>
                <c:ptCount val="1"/>
                <c:pt idx="0">
                  <c:v>Solar PV</c:v>
                </c:pt>
              </c:strCache>
            </c:strRef>
          </c:tx>
          <c:spPr>
            <a:solidFill>
              <a:schemeClr val="accent1"/>
            </a:solidFill>
            <a:ln>
              <a:noFill/>
            </a:ln>
            <a:effectLst/>
          </c:spPr>
          <c:invertIfNegative val="0"/>
          <c:cat>
            <c:numRef>
              <c:f>'Renewable electricity generatio'!$A$6:$A$9</c:f>
              <c:numCache>
                <c:formatCode>General</c:formatCode>
                <c:ptCount val="4"/>
                <c:pt idx="0">
                  <c:v>2008</c:v>
                </c:pt>
                <c:pt idx="1">
                  <c:v>2010</c:v>
                </c:pt>
                <c:pt idx="2">
                  <c:v>2015</c:v>
                </c:pt>
                <c:pt idx="3">
                  <c:v>2019</c:v>
                </c:pt>
              </c:numCache>
            </c:numRef>
          </c:cat>
          <c:val>
            <c:numRef>
              <c:f>'Renewable electricity generatio'!$B$6:$B$9</c:f>
              <c:numCache>
                <c:formatCode>General</c:formatCode>
                <c:ptCount val="4"/>
                <c:pt idx="0">
                  <c:v>1</c:v>
                </c:pt>
                <c:pt idx="1">
                  <c:v>5</c:v>
                </c:pt>
                <c:pt idx="2">
                  <c:v>69</c:v>
                </c:pt>
                <c:pt idx="3">
                  <c:v>341</c:v>
                </c:pt>
              </c:numCache>
            </c:numRef>
          </c:val>
          <c:extLst>
            <c:ext xmlns:c16="http://schemas.microsoft.com/office/drawing/2014/chart" uri="{C3380CC4-5D6E-409C-BE32-E72D297353CC}">
              <c16:uniqueId val="{00000000-B40C-49A1-92B4-BA9DA701FE9A}"/>
            </c:ext>
          </c:extLst>
        </c:ser>
        <c:dLbls>
          <c:showLegendKey val="0"/>
          <c:showVal val="0"/>
          <c:showCatName val="0"/>
          <c:showSerName val="0"/>
          <c:showPercent val="0"/>
          <c:showBubbleSize val="0"/>
        </c:dLbls>
        <c:gapWidth val="219"/>
        <c:overlap val="-27"/>
        <c:axId val="211507296"/>
        <c:axId val="211508544"/>
      </c:barChart>
      <c:catAx>
        <c:axId val="2115072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dirty="0"/>
                  <a:t>Unit: GWh (</a:t>
                </a:r>
                <a:r>
                  <a:rPr lang="en-US" sz="800" b="0" i="0" u="none" strike="noStrike" baseline="0" dirty="0"/>
                  <a:t>Gigawatt hours</a:t>
                </a:r>
                <a:r>
                  <a:rPr lang="en-US" sz="800" dirty="0"/>
                  <a:t>)</a:t>
                </a:r>
              </a:p>
            </c:rich>
          </c:tx>
          <c:layout>
            <c:manualLayout>
              <c:xMode val="edge"/>
              <c:yMode val="edge"/>
              <c:x val="0.62859435493732629"/>
              <c:y val="0.207842076015719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508544"/>
        <c:crosses val="autoZero"/>
        <c:auto val="1"/>
        <c:lblAlgn val="ctr"/>
        <c:lblOffset val="100"/>
        <c:noMultiLvlLbl val="0"/>
      </c:catAx>
      <c:valAx>
        <c:axId val="211508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507296"/>
        <c:crosses val="autoZero"/>
        <c:crossBetween val="between"/>
        <c:majorUnit val="100"/>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100" dirty="0"/>
              <a:t>Annual Fuel Mix for Electricity Generation by Energy Products, 2005 - 2020</a:t>
            </a:r>
          </a:p>
        </c:rich>
      </c:tx>
      <c:layout>
        <c:manualLayout>
          <c:xMode val="edge"/>
          <c:yMode val="edge"/>
          <c:x val="0.24557086614173229"/>
          <c:y val="0"/>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83349814334533E-2"/>
          <c:y val="0.10969130577469399"/>
          <c:w val="0.93117159231716551"/>
          <c:h val="0.76246022843224093"/>
        </c:manualLayout>
      </c:layout>
      <c:barChart>
        <c:barDir val="col"/>
        <c:grouping val="clustered"/>
        <c:varyColors val="0"/>
        <c:ser>
          <c:idx val="0"/>
          <c:order val="0"/>
          <c:tx>
            <c:strRef>
              <c:f>'T2.2'!$A$7</c:f>
              <c:strCache>
                <c:ptCount val="1"/>
                <c:pt idx="0">
                  <c:v>Petroleum Product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T2.2'!$B$6:$Q$6</c:f>
              <c:strCach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strCache>
            </c:strRef>
          </c:cat>
          <c:val>
            <c:numRef>
              <c:f>'T2.2'!$B$7:$Q$7</c:f>
              <c:numCache>
                <c:formatCode>0.0</c:formatCode>
                <c:ptCount val="16"/>
                <c:pt idx="0">
                  <c:v>23.1</c:v>
                </c:pt>
                <c:pt idx="1">
                  <c:v>19.8</c:v>
                </c:pt>
                <c:pt idx="2">
                  <c:v>18.899999999999999</c:v>
                </c:pt>
                <c:pt idx="3">
                  <c:v>17.2</c:v>
                </c:pt>
                <c:pt idx="4">
                  <c:v>16.899999999999999</c:v>
                </c:pt>
                <c:pt idx="5">
                  <c:v>20.2</c:v>
                </c:pt>
                <c:pt idx="6">
                  <c:v>19.399999999999999</c:v>
                </c:pt>
                <c:pt idx="7">
                  <c:v>13</c:v>
                </c:pt>
                <c:pt idx="8">
                  <c:v>4.6900000000000004</c:v>
                </c:pt>
                <c:pt idx="9">
                  <c:v>0.7</c:v>
                </c:pt>
                <c:pt idx="10">
                  <c:v>0.66</c:v>
                </c:pt>
                <c:pt idx="11">
                  <c:v>0.7</c:v>
                </c:pt>
                <c:pt idx="12" formatCode="_(* #,##0.0_);_(* \(#,##0.0\);_(* &quot;-&quot;??_);_(@_)">
                  <c:v>0.7</c:v>
                </c:pt>
                <c:pt idx="13" formatCode="_(* #,##0.0_);_(* \(#,##0.0\);_(* &quot;-&quot;??_);_(@_)">
                  <c:v>0.6</c:v>
                </c:pt>
                <c:pt idx="14" formatCode="General">
                  <c:v>0.4</c:v>
                </c:pt>
                <c:pt idx="15">
                  <c:v>0.2</c:v>
                </c:pt>
              </c:numCache>
            </c:numRef>
          </c:val>
          <c:extLst>
            <c:ext xmlns:c16="http://schemas.microsoft.com/office/drawing/2014/chart" uri="{C3380CC4-5D6E-409C-BE32-E72D297353CC}">
              <c16:uniqueId val="{00000000-8DC4-4C51-B5DB-28BF4E8DC5C2}"/>
            </c:ext>
          </c:extLst>
        </c:ser>
        <c:ser>
          <c:idx val="1"/>
          <c:order val="1"/>
          <c:tx>
            <c:strRef>
              <c:f>'T2.2'!$A$8</c:f>
              <c:strCache>
                <c:ptCount val="1"/>
                <c:pt idx="0">
                  <c:v>Natural G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T2.2'!$B$6:$Q$6</c:f>
              <c:strCach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strCache>
            </c:strRef>
          </c:cat>
          <c:val>
            <c:numRef>
              <c:f>'T2.2'!$B$8:$Q$8</c:f>
              <c:numCache>
                <c:formatCode>0.0</c:formatCode>
                <c:ptCount val="16"/>
                <c:pt idx="0">
                  <c:v>74.400000000000006</c:v>
                </c:pt>
                <c:pt idx="1">
                  <c:v>77.8</c:v>
                </c:pt>
                <c:pt idx="2">
                  <c:v>78.7</c:v>
                </c:pt>
                <c:pt idx="3">
                  <c:v>80.3</c:v>
                </c:pt>
                <c:pt idx="4">
                  <c:v>80.599999999999994</c:v>
                </c:pt>
                <c:pt idx="5">
                  <c:v>77.2</c:v>
                </c:pt>
                <c:pt idx="6">
                  <c:v>78</c:v>
                </c:pt>
                <c:pt idx="7">
                  <c:v>84.3</c:v>
                </c:pt>
                <c:pt idx="8">
                  <c:v>91.79</c:v>
                </c:pt>
                <c:pt idx="9">
                  <c:v>95.38</c:v>
                </c:pt>
                <c:pt idx="10">
                  <c:v>95.26</c:v>
                </c:pt>
                <c:pt idx="11">
                  <c:v>95.2</c:v>
                </c:pt>
                <c:pt idx="12" formatCode="_(* #,##0.0_);_(* \(#,##0.0\);_(* &quot;-&quot;??_);_(@_)">
                  <c:v>95.2</c:v>
                </c:pt>
                <c:pt idx="13" formatCode="_(* #,##0.0_);_(* \(#,##0.0\);_(* &quot;-&quot;??_);_(@_)">
                  <c:v>95.4</c:v>
                </c:pt>
                <c:pt idx="14" formatCode="General">
                  <c:v>95.6</c:v>
                </c:pt>
                <c:pt idx="15">
                  <c:v>96</c:v>
                </c:pt>
              </c:numCache>
            </c:numRef>
          </c:val>
          <c:extLst>
            <c:ext xmlns:c16="http://schemas.microsoft.com/office/drawing/2014/chart" uri="{C3380CC4-5D6E-409C-BE32-E72D297353CC}">
              <c16:uniqueId val="{00000001-8DC4-4C51-B5DB-28BF4E8DC5C2}"/>
            </c:ext>
          </c:extLst>
        </c:ser>
        <c:ser>
          <c:idx val="2"/>
          <c:order val="2"/>
          <c:tx>
            <c:strRef>
              <c:f>'T2.2'!$A$9</c:f>
              <c:strCache>
                <c:ptCount val="1"/>
                <c:pt idx="0">
                  <c:v>Coal</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T2.2'!$B$6:$Q$6</c:f>
              <c:strCach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strCache>
            </c:strRef>
          </c:cat>
          <c:val>
            <c:numRef>
              <c:f>'T2.2'!$B$9:$Q$9</c:f>
              <c:numCache>
                <c:formatCode>0.0</c:formatCode>
                <c:ptCount val="16"/>
                <c:pt idx="0">
                  <c:v>0</c:v>
                </c:pt>
                <c:pt idx="1">
                  <c:v>0</c:v>
                </c:pt>
                <c:pt idx="2">
                  <c:v>0</c:v>
                </c:pt>
                <c:pt idx="3">
                  <c:v>0</c:v>
                </c:pt>
                <c:pt idx="4">
                  <c:v>0</c:v>
                </c:pt>
                <c:pt idx="5">
                  <c:v>0</c:v>
                </c:pt>
                <c:pt idx="6">
                  <c:v>0</c:v>
                </c:pt>
                <c:pt idx="7">
                  <c:v>0</c:v>
                </c:pt>
                <c:pt idx="8">
                  <c:v>0</c:v>
                </c:pt>
                <c:pt idx="9">
                  <c:v>1.1000000000000001</c:v>
                </c:pt>
                <c:pt idx="10">
                  <c:v>1.2</c:v>
                </c:pt>
                <c:pt idx="11">
                  <c:v>1.2</c:v>
                </c:pt>
                <c:pt idx="12" formatCode="_(* #,##0.0_);_(* \(#,##0.0\);_(* &quot;-&quot;??_);_(@_)">
                  <c:v>1.3</c:v>
                </c:pt>
                <c:pt idx="13" formatCode="_(* #,##0.0_);_(* \(#,##0.0\);_(* &quot;-&quot;??_);_(@_)">
                  <c:v>1.3</c:v>
                </c:pt>
                <c:pt idx="14" formatCode="General">
                  <c:v>1.2</c:v>
                </c:pt>
                <c:pt idx="15">
                  <c:v>1</c:v>
                </c:pt>
              </c:numCache>
            </c:numRef>
          </c:val>
          <c:extLst>
            <c:ext xmlns:c16="http://schemas.microsoft.com/office/drawing/2014/chart" uri="{C3380CC4-5D6E-409C-BE32-E72D297353CC}">
              <c16:uniqueId val="{00000002-8DC4-4C51-B5DB-28BF4E8DC5C2}"/>
            </c:ext>
          </c:extLst>
        </c:ser>
        <c:ser>
          <c:idx val="3"/>
          <c:order val="3"/>
          <c:tx>
            <c:strRef>
              <c:f>'T2.2'!$A$10</c:f>
              <c:strCache>
                <c:ptCount val="1"/>
                <c:pt idx="0">
                  <c:v>Other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T2.2'!$B$6:$Q$6</c:f>
              <c:strCach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strCache>
            </c:strRef>
          </c:cat>
          <c:val>
            <c:numRef>
              <c:f>'T2.2'!$B$10:$Q$10</c:f>
              <c:numCache>
                <c:formatCode>0.0</c:formatCode>
                <c:ptCount val="16"/>
                <c:pt idx="0">
                  <c:v>2.5</c:v>
                </c:pt>
                <c:pt idx="1">
                  <c:v>2.4</c:v>
                </c:pt>
                <c:pt idx="2">
                  <c:v>2.4</c:v>
                </c:pt>
                <c:pt idx="3">
                  <c:v>2.5</c:v>
                </c:pt>
                <c:pt idx="4">
                  <c:v>2.5</c:v>
                </c:pt>
                <c:pt idx="5">
                  <c:v>2.6</c:v>
                </c:pt>
                <c:pt idx="6">
                  <c:v>2.6</c:v>
                </c:pt>
                <c:pt idx="7">
                  <c:v>2.7</c:v>
                </c:pt>
                <c:pt idx="8">
                  <c:v>3.52</c:v>
                </c:pt>
                <c:pt idx="9">
                  <c:v>2.8</c:v>
                </c:pt>
                <c:pt idx="10">
                  <c:v>2.9</c:v>
                </c:pt>
                <c:pt idx="11">
                  <c:v>2.9</c:v>
                </c:pt>
                <c:pt idx="12" formatCode="_(* #,##0.0_);_(* \(#,##0.0\);_(* &quot;-&quot;??_);_(@_)">
                  <c:v>2.9</c:v>
                </c:pt>
                <c:pt idx="13" formatCode="_(* #,##0.0_);_(* \(#,##0.0\);_(* &quot;-&quot;??_);_(@_)">
                  <c:v>2.8</c:v>
                </c:pt>
                <c:pt idx="14" formatCode="General">
                  <c:v>2.8</c:v>
                </c:pt>
                <c:pt idx="15">
                  <c:v>2.8</c:v>
                </c:pt>
              </c:numCache>
            </c:numRef>
          </c:val>
          <c:extLst>
            <c:ext xmlns:c16="http://schemas.microsoft.com/office/drawing/2014/chart" uri="{C3380CC4-5D6E-409C-BE32-E72D297353CC}">
              <c16:uniqueId val="{00000003-8DC4-4C51-B5DB-28BF4E8DC5C2}"/>
            </c:ext>
          </c:extLst>
        </c:ser>
        <c:dLbls>
          <c:showLegendKey val="0"/>
          <c:showVal val="0"/>
          <c:showCatName val="0"/>
          <c:showSerName val="0"/>
          <c:showPercent val="0"/>
          <c:showBubbleSize val="0"/>
        </c:dLbls>
        <c:gapWidth val="100"/>
        <c:overlap val="-24"/>
        <c:axId val="1411957295"/>
        <c:axId val="1411961455"/>
      </c:barChart>
      <c:catAx>
        <c:axId val="1411957295"/>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1961455"/>
        <c:crosses val="autoZero"/>
        <c:auto val="1"/>
        <c:lblAlgn val="ctr"/>
        <c:lblOffset val="100"/>
        <c:noMultiLvlLbl val="0"/>
      </c:catAx>
      <c:valAx>
        <c:axId val="1411961455"/>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a:t>Unit: Percent (%)</a:t>
                </a:r>
              </a:p>
            </c:rich>
          </c:tx>
          <c:layout>
            <c:manualLayout>
              <c:xMode val="edge"/>
              <c:yMode val="edge"/>
              <c:x val="0.90043257994905135"/>
              <c:y val="6.5357560650958033E-2"/>
            </c:manualLayout>
          </c:layout>
          <c:overlay val="0"/>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19572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FFFFFF"/>
    </a:solid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dirty="0">
                <a:effectLst/>
              </a:rPr>
              <a:t>Energy Imports and Export for Singapore (2005)</a:t>
            </a:r>
            <a:endParaRPr lang="en-US" sz="11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490048118985127"/>
          <c:y val="0.17171296296296296"/>
          <c:w val="0.84454396325459313"/>
          <c:h val="0.7441015895740305"/>
        </c:manualLayout>
      </c:layout>
      <c:barChart>
        <c:barDir val="col"/>
        <c:grouping val="clustered"/>
        <c:varyColors val="0"/>
        <c:ser>
          <c:idx val="0"/>
          <c:order val="0"/>
          <c:tx>
            <c:strRef>
              <c:f>'T1.2'!$T$8</c:f>
              <c:strCache>
                <c:ptCount val="1"/>
                <c:pt idx="0">
                  <c:v>Export </c:v>
                </c:pt>
              </c:strCache>
            </c:strRef>
          </c:tx>
          <c:spPr>
            <a:solidFill>
              <a:schemeClr val="accent1"/>
            </a:solidFill>
            <a:ln>
              <a:noFill/>
            </a:ln>
            <a:effectLst/>
          </c:spPr>
          <c:invertIfNegative val="0"/>
          <c:cat>
            <c:strRef>
              <c:f>'T1.2'!$S$9:$S$13</c:f>
              <c:strCache>
                <c:ptCount val="5"/>
                <c:pt idx="0">
                  <c:v>Coal and Peat</c:v>
                </c:pt>
                <c:pt idx="1">
                  <c:v>Crude Oil</c:v>
                </c:pt>
                <c:pt idx="2">
                  <c:v>Petroleum Products</c:v>
                </c:pt>
                <c:pt idx="3">
                  <c:v>Natural Gas</c:v>
                </c:pt>
                <c:pt idx="4">
                  <c:v>Total</c:v>
                </c:pt>
              </c:strCache>
            </c:strRef>
          </c:cat>
          <c:val>
            <c:numRef>
              <c:f>'T1.2'!$T$9:$T$13</c:f>
              <c:numCache>
                <c:formatCode>General</c:formatCode>
                <c:ptCount val="5"/>
                <c:pt idx="0">
                  <c:v>0</c:v>
                </c:pt>
                <c:pt idx="1">
                  <c:v>-890</c:v>
                </c:pt>
                <c:pt idx="2">
                  <c:v>-63613</c:v>
                </c:pt>
                <c:pt idx="3">
                  <c:v>0</c:v>
                </c:pt>
                <c:pt idx="4">
                  <c:v>-64503</c:v>
                </c:pt>
              </c:numCache>
            </c:numRef>
          </c:val>
          <c:extLst>
            <c:ext xmlns:c16="http://schemas.microsoft.com/office/drawing/2014/chart" uri="{C3380CC4-5D6E-409C-BE32-E72D297353CC}">
              <c16:uniqueId val="{00000000-EAD4-4EA5-B463-15287D976574}"/>
            </c:ext>
          </c:extLst>
        </c:ser>
        <c:ser>
          <c:idx val="1"/>
          <c:order val="1"/>
          <c:tx>
            <c:strRef>
              <c:f>'T1.2'!$U$8</c:f>
              <c:strCache>
                <c:ptCount val="1"/>
                <c:pt idx="0">
                  <c:v>Import</c:v>
                </c:pt>
              </c:strCache>
            </c:strRef>
          </c:tx>
          <c:spPr>
            <a:solidFill>
              <a:schemeClr val="accent2"/>
            </a:solidFill>
            <a:ln>
              <a:noFill/>
            </a:ln>
            <a:effectLst/>
          </c:spPr>
          <c:invertIfNegative val="0"/>
          <c:cat>
            <c:strRef>
              <c:f>'T1.2'!$S$9:$S$13</c:f>
              <c:strCache>
                <c:ptCount val="5"/>
                <c:pt idx="0">
                  <c:v>Coal and Peat</c:v>
                </c:pt>
                <c:pt idx="1">
                  <c:v>Crude Oil</c:v>
                </c:pt>
                <c:pt idx="2">
                  <c:v>Petroleum Products</c:v>
                </c:pt>
                <c:pt idx="3">
                  <c:v>Natural Gas</c:v>
                </c:pt>
                <c:pt idx="4">
                  <c:v>Total</c:v>
                </c:pt>
              </c:strCache>
            </c:strRef>
          </c:cat>
          <c:val>
            <c:numRef>
              <c:f>'T1.2'!$U$9:$U$13</c:f>
              <c:numCache>
                <c:formatCode>General</c:formatCode>
                <c:ptCount val="5"/>
                <c:pt idx="0">
                  <c:v>8</c:v>
                </c:pt>
                <c:pt idx="1">
                  <c:v>60200</c:v>
                </c:pt>
                <c:pt idx="2">
                  <c:v>49292</c:v>
                </c:pt>
                <c:pt idx="3">
                  <c:v>5571</c:v>
                </c:pt>
                <c:pt idx="4">
                  <c:v>85071</c:v>
                </c:pt>
              </c:numCache>
            </c:numRef>
          </c:val>
          <c:extLst>
            <c:ext xmlns:c16="http://schemas.microsoft.com/office/drawing/2014/chart" uri="{C3380CC4-5D6E-409C-BE32-E72D297353CC}">
              <c16:uniqueId val="{00000001-EAD4-4EA5-B463-15287D976574}"/>
            </c:ext>
          </c:extLst>
        </c:ser>
        <c:dLbls>
          <c:showLegendKey val="0"/>
          <c:showVal val="0"/>
          <c:showCatName val="0"/>
          <c:showSerName val="0"/>
          <c:showPercent val="0"/>
          <c:showBubbleSize val="0"/>
        </c:dLbls>
        <c:gapWidth val="219"/>
        <c:overlap val="-27"/>
        <c:axId val="1739546927"/>
        <c:axId val="1739548591"/>
      </c:barChart>
      <c:catAx>
        <c:axId val="173954692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b="1" i="0" baseline="0">
                    <a:effectLst/>
                  </a:rPr>
                  <a:t>Unit: ktoe (kilotonne of oil equivalent)</a:t>
                </a:r>
                <a:endParaRPr lang="en-US" sz="200">
                  <a:effectLst/>
                </a:endParaRPr>
              </a:p>
            </c:rich>
          </c:tx>
          <c:layout>
            <c:manualLayout>
              <c:xMode val="edge"/>
              <c:yMode val="edge"/>
              <c:x val="0.67770146633878969"/>
              <c:y val="0.1179551419708900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739548591"/>
        <c:crosses val="autoZero"/>
        <c:auto val="1"/>
        <c:lblAlgn val="ctr"/>
        <c:lblOffset val="100"/>
        <c:noMultiLvlLbl val="0"/>
      </c:catAx>
      <c:valAx>
        <c:axId val="1739548591"/>
        <c:scaling>
          <c:orientation val="minMax"/>
          <c:max val="180000"/>
          <c:min val="-12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9546927"/>
        <c:crosses val="autoZero"/>
        <c:crossBetween val="between"/>
        <c:majorUnit val="6000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FFFFFF"/>
    </a:solid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dirty="0">
                <a:effectLst/>
              </a:rPr>
              <a:t>Energy Imports and Export for Singapore (2019)</a:t>
            </a:r>
            <a:endParaRPr lang="en-US" sz="11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490048118985127"/>
          <c:y val="0.19486111111111112"/>
          <c:w val="0.84454396325459313"/>
          <c:h val="0.72146779158603758"/>
        </c:manualLayout>
      </c:layout>
      <c:barChart>
        <c:barDir val="col"/>
        <c:grouping val="clustered"/>
        <c:varyColors val="0"/>
        <c:ser>
          <c:idx val="0"/>
          <c:order val="0"/>
          <c:tx>
            <c:strRef>
              <c:f>'T1.2'!$T$17</c:f>
              <c:strCache>
                <c:ptCount val="1"/>
                <c:pt idx="0">
                  <c:v>Export </c:v>
                </c:pt>
              </c:strCache>
            </c:strRef>
          </c:tx>
          <c:spPr>
            <a:solidFill>
              <a:schemeClr val="accent1"/>
            </a:solidFill>
            <a:ln>
              <a:noFill/>
            </a:ln>
            <a:effectLst/>
          </c:spPr>
          <c:invertIfNegative val="0"/>
          <c:cat>
            <c:strRef>
              <c:f>'T1.2'!$S$18:$S$22</c:f>
              <c:strCache>
                <c:ptCount val="5"/>
                <c:pt idx="0">
                  <c:v>Coal and Peat</c:v>
                </c:pt>
                <c:pt idx="1">
                  <c:v>Crude Oil</c:v>
                </c:pt>
                <c:pt idx="2">
                  <c:v>Petroleum Products</c:v>
                </c:pt>
                <c:pt idx="3">
                  <c:v>Natural Gas</c:v>
                </c:pt>
                <c:pt idx="4">
                  <c:v>Total</c:v>
                </c:pt>
              </c:strCache>
            </c:strRef>
          </c:cat>
          <c:val>
            <c:numRef>
              <c:f>'T1.2'!$T$18:$T$22</c:f>
              <c:numCache>
                <c:formatCode>General</c:formatCode>
                <c:ptCount val="5"/>
                <c:pt idx="0">
                  <c:v>0</c:v>
                </c:pt>
                <c:pt idx="1">
                  <c:v>-966</c:v>
                </c:pt>
                <c:pt idx="2">
                  <c:v>-86690</c:v>
                </c:pt>
                <c:pt idx="3">
                  <c:v>0</c:v>
                </c:pt>
                <c:pt idx="4">
                  <c:v>-87656</c:v>
                </c:pt>
              </c:numCache>
            </c:numRef>
          </c:val>
          <c:extLst>
            <c:ext xmlns:c16="http://schemas.microsoft.com/office/drawing/2014/chart" uri="{C3380CC4-5D6E-409C-BE32-E72D297353CC}">
              <c16:uniqueId val="{00000000-8A49-49EE-9921-96F3CE9AAA58}"/>
            </c:ext>
          </c:extLst>
        </c:ser>
        <c:ser>
          <c:idx val="1"/>
          <c:order val="1"/>
          <c:tx>
            <c:strRef>
              <c:f>'T1.2'!$U$17</c:f>
              <c:strCache>
                <c:ptCount val="1"/>
                <c:pt idx="0">
                  <c:v>Import</c:v>
                </c:pt>
              </c:strCache>
            </c:strRef>
          </c:tx>
          <c:spPr>
            <a:solidFill>
              <a:schemeClr val="accent2"/>
            </a:solidFill>
            <a:ln>
              <a:noFill/>
            </a:ln>
            <a:effectLst/>
          </c:spPr>
          <c:invertIfNegative val="0"/>
          <c:cat>
            <c:strRef>
              <c:f>'T1.2'!$S$18:$S$22</c:f>
              <c:strCache>
                <c:ptCount val="5"/>
                <c:pt idx="0">
                  <c:v>Coal and Peat</c:v>
                </c:pt>
                <c:pt idx="1">
                  <c:v>Crude Oil</c:v>
                </c:pt>
                <c:pt idx="2">
                  <c:v>Petroleum Products</c:v>
                </c:pt>
                <c:pt idx="3">
                  <c:v>Natural Gas</c:v>
                </c:pt>
                <c:pt idx="4">
                  <c:v>Total</c:v>
                </c:pt>
              </c:strCache>
            </c:strRef>
          </c:cat>
          <c:val>
            <c:numRef>
              <c:f>'T1.2'!$U$18:$U$22</c:f>
              <c:numCache>
                <c:formatCode>General</c:formatCode>
                <c:ptCount val="5"/>
                <c:pt idx="0">
                  <c:v>458</c:v>
                </c:pt>
                <c:pt idx="1">
                  <c:v>54399</c:v>
                </c:pt>
                <c:pt idx="2">
                  <c:v>99656</c:v>
                </c:pt>
                <c:pt idx="3">
                  <c:v>10147</c:v>
                </c:pt>
                <c:pt idx="4">
                  <c:v>164660</c:v>
                </c:pt>
              </c:numCache>
            </c:numRef>
          </c:val>
          <c:extLst>
            <c:ext xmlns:c16="http://schemas.microsoft.com/office/drawing/2014/chart" uri="{C3380CC4-5D6E-409C-BE32-E72D297353CC}">
              <c16:uniqueId val="{00000001-8A49-49EE-9921-96F3CE9AAA58}"/>
            </c:ext>
          </c:extLst>
        </c:ser>
        <c:dLbls>
          <c:showLegendKey val="0"/>
          <c:showVal val="0"/>
          <c:showCatName val="0"/>
          <c:showSerName val="0"/>
          <c:showPercent val="0"/>
          <c:showBubbleSize val="0"/>
        </c:dLbls>
        <c:gapWidth val="219"/>
        <c:overlap val="-27"/>
        <c:axId val="1734472063"/>
        <c:axId val="1734467071"/>
      </c:barChart>
      <c:catAx>
        <c:axId val="173447206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b="1" i="0" baseline="0">
                    <a:effectLst/>
                  </a:rPr>
                  <a:t>Unit: ktoe (kilotonne of oil equivalent)</a:t>
                </a:r>
                <a:endParaRPr lang="en-US" sz="200">
                  <a:effectLst/>
                </a:endParaRPr>
              </a:p>
            </c:rich>
          </c:tx>
          <c:layout>
            <c:manualLayout>
              <c:xMode val="edge"/>
              <c:yMode val="edge"/>
              <c:x val="0.67217959450488141"/>
              <c:y val="0.1400721589267438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734467071"/>
        <c:crosses val="autoZero"/>
        <c:auto val="1"/>
        <c:lblAlgn val="ctr"/>
        <c:lblOffset val="100"/>
        <c:noMultiLvlLbl val="0"/>
      </c:catAx>
      <c:valAx>
        <c:axId val="1734467071"/>
        <c:scaling>
          <c:orientation val="minMax"/>
          <c:max val="180000"/>
          <c:min val="-12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34472063"/>
        <c:crosses val="autoZero"/>
        <c:crossBetween val="between"/>
        <c:majorUnit val="6000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FFFFFF"/>
    </a:solid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Energy consumption per GD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3914260717410324E-2"/>
          <c:y val="0.17171296296296296"/>
          <c:w val="0.9155301837270341"/>
          <c:h val="0.71530876348789729"/>
        </c:manualLayout>
      </c:layout>
      <c:lineChart>
        <c:grouping val="standard"/>
        <c:varyColors val="0"/>
        <c:ser>
          <c:idx val="0"/>
          <c:order val="0"/>
          <c:tx>
            <c:strRef>
              <c:f>'energy-intensity'!$O$25</c:f>
              <c:strCache>
                <c:ptCount val="1"/>
                <c:pt idx="0">
                  <c:v>Energy consumption per GDP (kWh per $)</c:v>
                </c:pt>
              </c:strCache>
            </c:strRef>
          </c:tx>
          <c:spPr>
            <a:ln w="28575" cap="rnd">
              <a:solidFill>
                <a:schemeClr val="accent1"/>
              </a:solidFill>
              <a:round/>
            </a:ln>
            <a:effectLst/>
          </c:spPr>
          <c:marker>
            <c:symbol val="none"/>
          </c:marker>
          <c:cat>
            <c:numRef>
              <c:f>('energy-intensity'!$N$27,'energy-intensity'!$N$32,'energy-intensity'!$N$37,'energy-intensity'!$N$42,'energy-intensity'!$N$47,'energy-intensity'!$N$52)</c:f>
              <c:numCache>
                <c:formatCode>General</c:formatCode>
                <c:ptCount val="6"/>
                <c:pt idx="0">
                  <c:v>1991</c:v>
                </c:pt>
                <c:pt idx="1">
                  <c:v>1996</c:v>
                </c:pt>
                <c:pt idx="2">
                  <c:v>2001</c:v>
                </c:pt>
                <c:pt idx="3">
                  <c:v>2006</c:v>
                </c:pt>
                <c:pt idx="4">
                  <c:v>2011</c:v>
                </c:pt>
                <c:pt idx="5">
                  <c:v>2016</c:v>
                </c:pt>
              </c:numCache>
            </c:numRef>
          </c:cat>
          <c:val>
            <c:numRef>
              <c:f>('energy-intensity'!$O$27,'energy-intensity'!$O$32,'energy-intensity'!$O$37,'energy-intensity'!$O$42,'energy-intensity'!$O$47,'energy-intensity'!$O$52)</c:f>
              <c:numCache>
                <c:formatCode>General</c:formatCode>
                <c:ptCount val="6"/>
                <c:pt idx="0">
                  <c:v>5.53</c:v>
                </c:pt>
                <c:pt idx="1">
                  <c:v>5.1150000000000002</c:v>
                </c:pt>
                <c:pt idx="2">
                  <c:v>3.3980000000000001</c:v>
                </c:pt>
                <c:pt idx="3">
                  <c:v>2.2370000000000001</c:v>
                </c:pt>
                <c:pt idx="4">
                  <c:v>2.5590000000000002</c:v>
                </c:pt>
                <c:pt idx="5">
                  <c:v>2.4900000000000002</c:v>
                </c:pt>
              </c:numCache>
              <c:extLst/>
            </c:numRef>
          </c:val>
          <c:smooth val="0"/>
          <c:extLst>
            <c:ext xmlns:c16="http://schemas.microsoft.com/office/drawing/2014/chart" uri="{C3380CC4-5D6E-409C-BE32-E72D297353CC}">
              <c16:uniqueId val="{00000000-F132-4C78-87CA-5C1F7073C99A}"/>
            </c:ext>
          </c:extLst>
        </c:ser>
        <c:dLbls>
          <c:showLegendKey val="0"/>
          <c:showVal val="0"/>
          <c:showCatName val="0"/>
          <c:showSerName val="0"/>
          <c:showPercent val="0"/>
          <c:showBubbleSize val="0"/>
        </c:dLbls>
        <c:smooth val="0"/>
        <c:axId val="922574127"/>
        <c:axId val="922575791"/>
      </c:lineChart>
      <c:catAx>
        <c:axId val="92257412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i="0"/>
                  <a:t>Unit: </a:t>
                </a:r>
                <a:r>
                  <a:rPr lang="en-US" sz="1000" b="0" i="0" u="none" strike="noStrike" baseline="0"/>
                  <a:t>kilowatt-hour </a:t>
                </a:r>
                <a:r>
                  <a:rPr lang="en-US" sz="1000" b="0" i="0" u="none" strike="noStrike" baseline="0">
                    <a:effectLst/>
                  </a:rPr>
                  <a:t>(kWh) per $</a:t>
                </a:r>
                <a:endParaRPr lang="en-US" i="0"/>
              </a:p>
            </c:rich>
          </c:tx>
          <c:layout>
            <c:manualLayout>
              <c:xMode val="edge"/>
              <c:yMode val="edge"/>
              <c:x val="0.62791666666666668"/>
              <c:y val="0.1101618547681539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2575791"/>
        <c:crosses val="autoZero"/>
        <c:auto val="1"/>
        <c:lblAlgn val="ctr"/>
        <c:lblOffset val="100"/>
        <c:noMultiLvlLbl val="0"/>
      </c:catAx>
      <c:valAx>
        <c:axId val="92257579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2574127"/>
        <c:crosses val="autoZero"/>
        <c:crossBetween val="between"/>
      </c:valAx>
      <c:spPr>
        <a:noFill/>
        <a:ln>
          <a:noFill/>
        </a:ln>
        <a:effectLst/>
      </c:spPr>
    </c:plotArea>
    <c:plotVisOnly val="1"/>
    <c:dispBlanksAs val="gap"/>
    <c:showDLblsOverMax val="0"/>
  </c:chart>
  <c:spPr>
    <a:solidFill>
      <a:srgbClr val="FFFFFF"/>
    </a:solid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g35f391192_0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7" name="Google Shape;777;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2"/>
        <p:cNvGrpSpPr/>
        <p:nvPr/>
      </p:nvGrpSpPr>
      <p:grpSpPr>
        <a:xfrm>
          <a:off x="0" y="0"/>
          <a:ext cx="0" cy="0"/>
          <a:chOff x="0" y="0"/>
          <a:chExt cx="0" cy="0"/>
        </a:xfrm>
      </p:grpSpPr>
      <p:sp>
        <p:nvSpPr>
          <p:cNvPr id="903" name="Google Shape;903;g35f391192_08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 name="Google Shape;904;g35f391192_0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9"/>
        <p:cNvGrpSpPr/>
        <p:nvPr/>
      </p:nvGrpSpPr>
      <p:grpSpPr>
        <a:xfrm>
          <a:off x="0" y="0"/>
          <a:ext cx="0" cy="0"/>
          <a:chOff x="0" y="0"/>
          <a:chExt cx="0" cy="0"/>
        </a:xfrm>
      </p:grpSpPr>
      <p:sp>
        <p:nvSpPr>
          <p:cNvPr id="790" name="Google Shape;790;g35f391192_0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1" name="Google Shape;791;g35f391192_0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7"/>
        <p:cNvGrpSpPr/>
        <p:nvPr/>
      </p:nvGrpSpPr>
      <p:grpSpPr>
        <a:xfrm>
          <a:off x="0" y="0"/>
          <a:ext cx="0" cy="0"/>
          <a:chOff x="0" y="0"/>
          <a:chExt cx="0" cy="0"/>
        </a:xfrm>
      </p:grpSpPr>
      <p:sp>
        <p:nvSpPr>
          <p:cNvPr id="798" name="Google Shape;798;g35f391192_0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9" name="Google Shape;799;g35f391192_0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3"/>
        <p:cNvGrpSpPr/>
        <p:nvPr/>
      </p:nvGrpSpPr>
      <p:grpSpPr>
        <a:xfrm>
          <a:off x="0" y="0"/>
          <a:ext cx="0" cy="0"/>
          <a:chOff x="0" y="0"/>
          <a:chExt cx="0" cy="0"/>
        </a:xfrm>
      </p:grpSpPr>
      <p:sp>
        <p:nvSpPr>
          <p:cNvPr id="804" name="Google Shape;804;g35f391192_02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5" name="Google Shape;805;g35f391192_0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0"/>
        <p:cNvGrpSpPr/>
        <p:nvPr/>
      </p:nvGrpSpPr>
      <p:grpSpPr>
        <a:xfrm>
          <a:off x="0" y="0"/>
          <a:ext cx="0" cy="0"/>
          <a:chOff x="0" y="0"/>
          <a:chExt cx="0" cy="0"/>
        </a:xfrm>
      </p:grpSpPr>
      <p:sp>
        <p:nvSpPr>
          <p:cNvPr id="811" name="Google Shape;811;p: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2" name="Google Shape;81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7"/>
        <p:cNvGrpSpPr/>
        <p:nvPr/>
      </p:nvGrpSpPr>
      <p:grpSpPr>
        <a:xfrm>
          <a:off x="0" y="0"/>
          <a:ext cx="0" cy="0"/>
          <a:chOff x="0" y="0"/>
          <a:chExt cx="0" cy="0"/>
        </a:xfrm>
      </p:grpSpPr>
      <p:sp>
        <p:nvSpPr>
          <p:cNvPr id="818" name="Google Shape;818;g35ed75ccf_0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9" name="Google Shape;819;g35ed75ccf_0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0"/>
        <p:cNvGrpSpPr/>
        <p:nvPr/>
      </p:nvGrpSpPr>
      <p:grpSpPr>
        <a:xfrm>
          <a:off x="0" y="0"/>
          <a:ext cx="0" cy="0"/>
          <a:chOff x="0" y="0"/>
          <a:chExt cx="0" cy="0"/>
        </a:xfrm>
      </p:grpSpPr>
      <p:sp>
        <p:nvSpPr>
          <p:cNvPr id="781" name="Google Shape;781;g3606f1c2d_3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2" name="Google Shape;782;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7"/>
        <p:cNvGrpSpPr/>
        <p:nvPr/>
      </p:nvGrpSpPr>
      <p:grpSpPr>
        <a:xfrm>
          <a:off x="0" y="0"/>
          <a:ext cx="0" cy="0"/>
          <a:chOff x="0" y="0"/>
          <a:chExt cx="0" cy="0"/>
        </a:xfrm>
      </p:grpSpPr>
      <p:sp>
        <p:nvSpPr>
          <p:cNvPr id="868" name="Google Shape;868;g35f391192_07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69" name="Google Shape;869;g35f391192_0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3"/>
        <p:cNvGrpSpPr/>
        <p:nvPr/>
      </p:nvGrpSpPr>
      <p:grpSpPr>
        <a:xfrm>
          <a:off x="0" y="0"/>
          <a:ext cx="0" cy="0"/>
          <a:chOff x="0" y="0"/>
          <a:chExt cx="0" cy="0"/>
        </a:xfrm>
      </p:grpSpPr>
      <p:sp>
        <p:nvSpPr>
          <p:cNvPr id="854" name="Google Shape;854;g35f391192_05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5" name="Google Shape;855;g35f391192_0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10"/>
        <p:cNvGrpSpPr/>
        <p:nvPr/>
      </p:nvGrpSpPr>
      <p:grpSpPr>
        <a:xfrm>
          <a:off x="0" y="0"/>
          <a:ext cx="0" cy="0"/>
          <a:chOff x="0" y="0"/>
          <a:chExt cx="0" cy="0"/>
        </a:xfrm>
      </p:grpSpPr>
      <p:sp>
        <p:nvSpPr>
          <p:cNvPr id="11" name="Google Shape;11;p2"/>
          <p:cNvSpPr txBox="1">
            <a:spLocks noGrp="1"/>
          </p:cNvSpPr>
          <p:nvPr>
            <p:ph type="ctrTitle"/>
          </p:nvPr>
        </p:nvSpPr>
        <p:spPr>
          <a:xfrm>
            <a:off x="696525" y="1089721"/>
            <a:ext cx="7729200" cy="27756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5800"/>
              <a:buNone/>
              <a:defRPr sz="7733">
                <a:solidFill>
                  <a:schemeClr val="lt1"/>
                </a:solidFill>
              </a:defRPr>
            </a:lvl1pPr>
            <a:lvl2pPr lvl="1">
              <a:spcBef>
                <a:spcPts val="0"/>
              </a:spcBef>
              <a:spcAft>
                <a:spcPts val="0"/>
              </a:spcAft>
              <a:buClr>
                <a:schemeClr val="lt1"/>
              </a:buClr>
              <a:buSzPts val="5800"/>
              <a:buNone/>
              <a:defRPr sz="7733">
                <a:solidFill>
                  <a:schemeClr val="lt1"/>
                </a:solidFill>
              </a:defRPr>
            </a:lvl2pPr>
            <a:lvl3pPr lvl="2">
              <a:spcBef>
                <a:spcPts val="0"/>
              </a:spcBef>
              <a:spcAft>
                <a:spcPts val="0"/>
              </a:spcAft>
              <a:buClr>
                <a:schemeClr val="lt1"/>
              </a:buClr>
              <a:buSzPts val="5800"/>
              <a:buNone/>
              <a:defRPr sz="7733">
                <a:solidFill>
                  <a:schemeClr val="lt1"/>
                </a:solidFill>
              </a:defRPr>
            </a:lvl3pPr>
            <a:lvl4pPr lvl="3">
              <a:spcBef>
                <a:spcPts val="0"/>
              </a:spcBef>
              <a:spcAft>
                <a:spcPts val="0"/>
              </a:spcAft>
              <a:buClr>
                <a:schemeClr val="lt1"/>
              </a:buClr>
              <a:buSzPts val="5800"/>
              <a:buNone/>
              <a:defRPr sz="7733">
                <a:solidFill>
                  <a:schemeClr val="lt1"/>
                </a:solidFill>
              </a:defRPr>
            </a:lvl4pPr>
            <a:lvl5pPr lvl="4">
              <a:spcBef>
                <a:spcPts val="0"/>
              </a:spcBef>
              <a:spcAft>
                <a:spcPts val="0"/>
              </a:spcAft>
              <a:buClr>
                <a:schemeClr val="lt1"/>
              </a:buClr>
              <a:buSzPts val="5800"/>
              <a:buNone/>
              <a:defRPr sz="7733">
                <a:solidFill>
                  <a:schemeClr val="lt1"/>
                </a:solidFill>
              </a:defRPr>
            </a:lvl5pPr>
            <a:lvl6pPr lvl="5">
              <a:spcBef>
                <a:spcPts val="0"/>
              </a:spcBef>
              <a:spcAft>
                <a:spcPts val="0"/>
              </a:spcAft>
              <a:buClr>
                <a:schemeClr val="lt1"/>
              </a:buClr>
              <a:buSzPts val="5800"/>
              <a:buNone/>
              <a:defRPr sz="7733">
                <a:solidFill>
                  <a:schemeClr val="lt1"/>
                </a:solidFill>
              </a:defRPr>
            </a:lvl6pPr>
            <a:lvl7pPr lvl="6">
              <a:spcBef>
                <a:spcPts val="0"/>
              </a:spcBef>
              <a:spcAft>
                <a:spcPts val="0"/>
              </a:spcAft>
              <a:buClr>
                <a:schemeClr val="lt1"/>
              </a:buClr>
              <a:buSzPts val="5800"/>
              <a:buNone/>
              <a:defRPr sz="7733">
                <a:solidFill>
                  <a:schemeClr val="lt1"/>
                </a:solidFill>
              </a:defRPr>
            </a:lvl7pPr>
            <a:lvl8pPr lvl="7">
              <a:spcBef>
                <a:spcPts val="0"/>
              </a:spcBef>
              <a:spcAft>
                <a:spcPts val="0"/>
              </a:spcAft>
              <a:buClr>
                <a:schemeClr val="lt1"/>
              </a:buClr>
              <a:buSzPts val="5800"/>
              <a:buNone/>
              <a:defRPr sz="7733">
                <a:solidFill>
                  <a:schemeClr val="lt1"/>
                </a:solidFill>
              </a:defRPr>
            </a:lvl8pPr>
            <a:lvl9pPr lvl="8">
              <a:spcBef>
                <a:spcPts val="0"/>
              </a:spcBef>
              <a:spcAft>
                <a:spcPts val="0"/>
              </a:spcAft>
              <a:buClr>
                <a:schemeClr val="lt1"/>
              </a:buClr>
              <a:buSzPts val="5800"/>
              <a:buNone/>
              <a:defRPr sz="7733">
                <a:solidFill>
                  <a:schemeClr val="lt1"/>
                </a:solidFill>
              </a:defRPr>
            </a:lvl9pPr>
          </a:lstStyle>
          <a:p>
            <a:endParaRPr/>
          </a:p>
        </p:txBody>
      </p:sp>
      <p:grpSp>
        <p:nvGrpSpPr>
          <p:cNvPr id="12" name="Google Shape;12;p2"/>
          <p:cNvGrpSpPr/>
          <p:nvPr/>
        </p:nvGrpSpPr>
        <p:grpSpPr>
          <a:xfrm>
            <a:off x="28550" y="2929019"/>
            <a:ext cx="9094048" cy="3929100"/>
            <a:chOff x="28544" y="3514688"/>
            <a:chExt cx="9094048" cy="1628800"/>
          </a:xfrm>
        </p:grpSpPr>
        <p:sp>
          <p:nvSpPr>
            <p:cNvPr id="13" name="Google Shape;13;p2"/>
            <p:cNvSpPr/>
            <p:nvPr/>
          </p:nvSpPr>
          <p:spPr>
            <a:xfrm>
              <a:off x="300032" y="4491616"/>
              <a:ext cx="228608" cy="651872"/>
            </a:xfrm>
            <a:custGeom>
              <a:avLst/>
              <a:gdLst/>
              <a:ahLst/>
              <a:cxnLst/>
              <a:rect l="l" t="t" r="r" b="b"/>
              <a:pathLst>
                <a:path w="7144" h="20371" extrusionOk="0">
                  <a:moveTo>
                    <a:pt x="0" y="0"/>
                  </a:moveTo>
                  <a:lnTo>
                    <a:pt x="0" y="20371"/>
                  </a:lnTo>
                  <a:lnTo>
                    <a:pt x="7144" y="20371"/>
                  </a:lnTo>
                  <a:lnTo>
                    <a:pt x="7144"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 name="Google Shape;14;p2"/>
            <p:cNvSpPr/>
            <p:nvPr/>
          </p:nvSpPr>
          <p:spPr>
            <a:xfrm>
              <a:off x="28544" y="4220160"/>
              <a:ext cx="228640" cy="923328"/>
            </a:xfrm>
            <a:custGeom>
              <a:avLst/>
              <a:gdLst/>
              <a:ahLst/>
              <a:cxnLst/>
              <a:rect l="l" t="t" r="r" b="b"/>
              <a:pathLst>
                <a:path w="7145" h="28854" extrusionOk="0">
                  <a:moveTo>
                    <a:pt x="1" y="0"/>
                  </a:moveTo>
                  <a:lnTo>
                    <a:pt x="1" y="28854"/>
                  </a:lnTo>
                  <a:lnTo>
                    <a:pt x="7145" y="28854"/>
                  </a:lnTo>
                  <a:lnTo>
                    <a:pt x="7145"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 name="Google Shape;15;p2"/>
            <p:cNvSpPr/>
            <p:nvPr/>
          </p:nvSpPr>
          <p:spPr>
            <a:xfrm>
              <a:off x="576832" y="3939744"/>
              <a:ext cx="230432" cy="1203744"/>
            </a:xfrm>
            <a:custGeom>
              <a:avLst/>
              <a:gdLst/>
              <a:ahLst/>
              <a:cxnLst/>
              <a:rect l="l" t="t" r="r" b="b"/>
              <a:pathLst>
                <a:path w="7201" h="37617" extrusionOk="0">
                  <a:moveTo>
                    <a:pt x="1" y="1"/>
                  </a:moveTo>
                  <a:lnTo>
                    <a:pt x="1"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 name="Google Shape;16;p2"/>
            <p:cNvSpPr/>
            <p:nvPr/>
          </p:nvSpPr>
          <p:spPr>
            <a:xfrm>
              <a:off x="853664" y="4120128"/>
              <a:ext cx="230400" cy="1023360"/>
            </a:xfrm>
            <a:custGeom>
              <a:avLst/>
              <a:gdLst/>
              <a:ahLst/>
              <a:cxnLst/>
              <a:rect l="l" t="t" r="r" b="b"/>
              <a:pathLst>
                <a:path w="7200" h="31980" extrusionOk="0">
                  <a:moveTo>
                    <a:pt x="0" y="1"/>
                  </a:moveTo>
                  <a:lnTo>
                    <a:pt x="0" y="31980"/>
                  </a:lnTo>
                  <a:lnTo>
                    <a:pt x="7200" y="3198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 name="Google Shape;17;p2"/>
            <p:cNvSpPr/>
            <p:nvPr/>
          </p:nvSpPr>
          <p:spPr>
            <a:xfrm>
              <a:off x="1130496" y="4627328"/>
              <a:ext cx="230400" cy="516160"/>
            </a:xfrm>
            <a:custGeom>
              <a:avLst/>
              <a:gdLst/>
              <a:ahLst/>
              <a:cxnLst/>
              <a:rect l="l" t="t" r="r" b="b"/>
              <a:pathLst>
                <a:path w="7200" h="16130" extrusionOk="0">
                  <a:moveTo>
                    <a:pt x="0" y="1"/>
                  </a:moveTo>
                  <a:lnTo>
                    <a:pt x="0" y="16130"/>
                  </a:lnTo>
                  <a:lnTo>
                    <a:pt x="7200" y="1613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 name="Google Shape;18;p2"/>
            <p:cNvSpPr/>
            <p:nvPr/>
          </p:nvSpPr>
          <p:spPr>
            <a:xfrm>
              <a:off x="1409088" y="3821888"/>
              <a:ext cx="228640" cy="1321600"/>
            </a:xfrm>
            <a:custGeom>
              <a:avLst/>
              <a:gdLst/>
              <a:ahLst/>
              <a:cxnLst/>
              <a:rect l="l" t="t" r="r" b="b"/>
              <a:pathLst>
                <a:path w="7145" h="41300" extrusionOk="0">
                  <a:moveTo>
                    <a:pt x="1" y="0"/>
                  </a:moveTo>
                  <a:lnTo>
                    <a:pt x="1" y="41300"/>
                  </a:lnTo>
                  <a:lnTo>
                    <a:pt x="7144" y="41300"/>
                  </a:lnTo>
                  <a:lnTo>
                    <a:pt x="7144"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 name="Google Shape;19;p2"/>
            <p:cNvSpPr/>
            <p:nvPr/>
          </p:nvSpPr>
          <p:spPr>
            <a:xfrm>
              <a:off x="1685920" y="4175488"/>
              <a:ext cx="230400" cy="968000"/>
            </a:xfrm>
            <a:custGeom>
              <a:avLst/>
              <a:gdLst/>
              <a:ahLst/>
              <a:cxnLst/>
              <a:rect l="l" t="t" r="r" b="b"/>
              <a:pathLst>
                <a:path w="7200" h="30250" extrusionOk="0">
                  <a:moveTo>
                    <a:pt x="0" y="1"/>
                  </a:moveTo>
                  <a:lnTo>
                    <a:pt x="0" y="30250"/>
                  </a:lnTo>
                  <a:lnTo>
                    <a:pt x="7200" y="3025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 name="Google Shape;20;p2"/>
            <p:cNvSpPr/>
            <p:nvPr/>
          </p:nvSpPr>
          <p:spPr>
            <a:xfrm>
              <a:off x="1962720" y="3939744"/>
              <a:ext cx="230432" cy="1203744"/>
            </a:xfrm>
            <a:custGeom>
              <a:avLst/>
              <a:gdLst/>
              <a:ahLst/>
              <a:cxnLst/>
              <a:rect l="l" t="t" r="r" b="b"/>
              <a:pathLst>
                <a:path w="7201" h="37617" extrusionOk="0">
                  <a:moveTo>
                    <a:pt x="1" y="1"/>
                  </a:moveTo>
                  <a:lnTo>
                    <a:pt x="1"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 name="Google Shape;21;p2"/>
            <p:cNvSpPr/>
            <p:nvPr/>
          </p:nvSpPr>
          <p:spPr>
            <a:xfrm>
              <a:off x="2239552" y="4355872"/>
              <a:ext cx="230400" cy="787616"/>
            </a:xfrm>
            <a:custGeom>
              <a:avLst/>
              <a:gdLst/>
              <a:ahLst/>
              <a:cxnLst/>
              <a:rect l="l" t="t" r="r" b="b"/>
              <a:pathLst>
                <a:path w="7200" h="24613" extrusionOk="0">
                  <a:moveTo>
                    <a:pt x="0" y="1"/>
                  </a:moveTo>
                  <a:lnTo>
                    <a:pt x="0" y="24613"/>
                  </a:lnTo>
                  <a:lnTo>
                    <a:pt x="7200" y="24613"/>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2" name="Google Shape;22;p2"/>
            <p:cNvSpPr/>
            <p:nvPr/>
          </p:nvSpPr>
          <p:spPr>
            <a:xfrm>
              <a:off x="2516384" y="3821888"/>
              <a:ext cx="230400" cy="1321600"/>
            </a:xfrm>
            <a:custGeom>
              <a:avLst/>
              <a:gdLst/>
              <a:ahLst/>
              <a:cxnLst/>
              <a:rect l="l" t="t" r="r" b="b"/>
              <a:pathLst>
                <a:path w="7200" h="41300" extrusionOk="0">
                  <a:moveTo>
                    <a:pt x="0" y="0"/>
                  </a:moveTo>
                  <a:lnTo>
                    <a:pt x="0"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3" name="Google Shape;23;p2"/>
            <p:cNvSpPr/>
            <p:nvPr/>
          </p:nvSpPr>
          <p:spPr>
            <a:xfrm>
              <a:off x="2794976" y="4175488"/>
              <a:ext cx="228640" cy="968000"/>
            </a:xfrm>
            <a:custGeom>
              <a:avLst/>
              <a:gdLst/>
              <a:ahLst/>
              <a:cxnLst/>
              <a:rect l="l" t="t" r="r" b="b"/>
              <a:pathLst>
                <a:path w="7145" h="30250" extrusionOk="0">
                  <a:moveTo>
                    <a:pt x="1" y="1"/>
                  </a:moveTo>
                  <a:lnTo>
                    <a:pt x="1" y="30250"/>
                  </a:lnTo>
                  <a:lnTo>
                    <a:pt x="7144" y="30250"/>
                  </a:lnTo>
                  <a:lnTo>
                    <a:pt x="7144"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4" name="Google Shape;24;p2"/>
            <p:cNvSpPr/>
            <p:nvPr/>
          </p:nvSpPr>
          <p:spPr>
            <a:xfrm>
              <a:off x="3071808" y="3659360"/>
              <a:ext cx="230400" cy="1484128"/>
            </a:xfrm>
            <a:custGeom>
              <a:avLst/>
              <a:gdLst/>
              <a:ahLst/>
              <a:cxnLst/>
              <a:rect l="l" t="t" r="r" b="b"/>
              <a:pathLst>
                <a:path w="7200" h="46379" extrusionOk="0">
                  <a:moveTo>
                    <a:pt x="0" y="1"/>
                  </a:moveTo>
                  <a:lnTo>
                    <a:pt x="0" y="46379"/>
                  </a:lnTo>
                  <a:lnTo>
                    <a:pt x="7200" y="46379"/>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5" name="Google Shape;25;p2"/>
            <p:cNvSpPr/>
            <p:nvPr/>
          </p:nvSpPr>
          <p:spPr>
            <a:xfrm>
              <a:off x="3348608" y="3821888"/>
              <a:ext cx="230432" cy="1321600"/>
            </a:xfrm>
            <a:custGeom>
              <a:avLst/>
              <a:gdLst/>
              <a:ahLst/>
              <a:cxnLst/>
              <a:rect l="l" t="t" r="r" b="b"/>
              <a:pathLst>
                <a:path w="7201" h="41300" extrusionOk="0">
                  <a:moveTo>
                    <a:pt x="1" y="0"/>
                  </a:moveTo>
                  <a:lnTo>
                    <a:pt x="1"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6" name="Google Shape;26;p2"/>
            <p:cNvSpPr/>
            <p:nvPr/>
          </p:nvSpPr>
          <p:spPr>
            <a:xfrm>
              <a:off x="3625440" y="4220160"/>
              <a:ext cx="230400" cy="923328"/>
            </a:xfrm>
            <a:custGeom>
              <a:avLst/>
              <a:gdLst/>
              <a:ahLst/>
              <a:cxnLst/>
              <a:rect l="l" t="t" r="r" b="b"/>
              <a:pathLst>
                <a:path w="7200" h="28854" extrusionOk="0">
                  <a:moveTo>
                    <a:pt x="0" y="0"/>
                  </a:moveTo>
                  <a:lnTo>
                    <a:pt x="0" y="28854"/>
                  </a:lnTo>
                  <a:lnTo>
                    <a:pt x="7200" y="28854"/>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7" name="Google Shape;27;p2"/>
            <p:cNvSpPr/>
            <p:nvPr/>
          </p:nvSpPr>
          <p:spPr>
            <a:xfrm>
              <a:off x="3904032" y="4491616"/>
              <a:ext cx="228640" cy="651872"/>
            </a:xfrm>
            <a:custGeom>
              <a:avLst/>
              <a:gdLst/>
              <a:ahLst/>
              <a:cxnLst/>
              <a:rect l="l" t="t" r="r" b="b"/>
              <a:pathLst>
                <a:path w="7145" h="20371" extrusionOk="0">
                  <a:moveTo>
                    <a:pt x="1" y="0"/>
                  </a:moveTo>
                  <a:lnTo>
                    <a:pt x="1" y="20371"/>
                  </a:lnTo>
                  <a:lnTo>
                    <a:pt x="7145" y="20371"/>
                  </a:lnTo>
                  <a:lnTo>
                    <a:pt x="7145"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8" name="Google Shape;28;p2"/>
            <p:cNvSpPr/>
            <p:nvPr/>
          </p:nvSpPr>
          <p:spPr>
            <a:xfrm>
              <a:off x="4180864" y="4284448"/>
              <a:ext cx="230432" cy="859040"/>
            </a:xfrm>
            <a:custGeom>
              <a:avLst/>
              <a:gdLst/>
              <a:ahLst/>
              <a:cxnLst/>
              <a:rect l="l" t="t" r="r" b="b"/>
              <a:pathLst>
                <a:path w="7201" h="26845" extrusionOk="0">
                  <a:moveTo>
                    <a:pt x="0" y="0"/>
                  </a:moveTo>
                  <a:lnTo>
                    <a:pt x="0" y="26845"/>
                  </a:lnTo>
                  <a:lnTo>
                    <a:pt x="7200" y="26845"/>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9" name="Google Shape;29;p2"/>
            <p:cNvSpPr/>
            <p:nvPr/>
          </p:nvSpPr>
          <p:spPr>
            <a:xfrm>
              <a:off x="4457696" y="4004032"/>
              <a:ext cx="230400" cy="1139456"/>
            </a:xfrm>
            <a:custGeom>
              <a:avLst/>
              <a:gdLst/>
              <a:ahLst/>
              <a:cxnLst/>
              <a:rect l="l" t="t" r="r" b="b"/>
              <a:pathLst>
                <a:path w="7200" h="35608" extrusionOk="0">
                  <a:moveTo>
                    <a:pt x="0" y="1"/>
                  </a:moveTo>
                  <a:lnTo>
                    <a:pt x="0" y="35608"/>
                  </a:lnTo>
                  <a:lnTo>
                    <a:pt x="7200" y="35608"/>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0" name="Google Shape;30;p2"/>
            <p:cNvSpPr/>
            <p:nvPr/>
          </p:nvSpPr>
          <p:spPr>
            <a:xfrm>
              <a:off x="4734496" y="3821888"/>
              <a:ext cx="230432" cy="1321600"/>
            </a:xfrm>
            <a:custGeom>
              <a:avLst/>
              <a:gdLst/>
              <a:ahLst/>
              <a:cxnLst/>
              <a:rect l="l" t="t" r="r" b="b"/>
              <a:pathLst>
                <a:path w="7201" h="41300" extrusionOk="0">
                  <a:moveTo>
                    <a:pt x="1" y="0"/>
                  </a:moveTo>
                  <a:lnTo>
                    <a:pt x="1"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1" name="Google Shape;31;p2"/>
            <p:cNvSpPr/>
            <p:nvPr/>
          </p:nvSpPr>
          <p:spPr>
            <a:xfrm>
              <a:off x="5011328" y="3514688"/>
              <a:ext cx="230400" cy="1628800"/>
            </a:xfrm>
            <a:custGeom>
              <a:avLst/>
              <a:gdLst/>
              <a:ahLst/>
              <a:cxnLst/>
              <a:rect l="l" t="t" r="r" b="b"/>
              <a:pathLst>
                <a:path w="7200" h="50900" extrusionOk="0">
                  <a:moveTo>
                    <a:pt x="0" y="1"/>
                  </a:moveTo>
                  <a:lnTo>
                    <a:pt x="0" y="50900"/>
                  </a:lnTo>
                  <a:lnTo>
                    <a:pt x="7200" y="5090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2" name="Google Shape;32;p2"/>
            <p:cNvSpPr/>
            <p:nvPr/>
          </p:nvSpPr>
          <p:spPr>
            <a:xfrm>
              <a:off x="5289920" y="3939744"/>
              <a:ext cx="228640" cy="1203744"/>
            </a:xfrm>
            <a:custGeom>
              <a:avLst/>
              <a:gdLst/>
              <a:ahLst/>
              <a:cxnLst/>
              <a:rect l="l" t="t" r="r" b="b"/>
              <a:pathLst>
                <a:path w="7145" h="37617" extrusionOk="0">
                  <a:moveTo>
                    <a:pt x="1" y="1"/>
                  </a:moveTo>
                  <a:lnTo>
                    <a:pt x="1" y="37617"/>
                  </a:lnTo>
                  <a:lnTo>
                    <a:pt x="7145" y="37617"/>
                  </a:lnTo>
                  <a:lnTo>
                    <a:pt x="7145"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3" name="Google Shape;33;p2"/>
            <p:cNvSpPr/>
            <p:nvPr/>
          </p:nvSpPr>
          <p:spPr>
            <a:xfrm>
              <a:off x="5566752" y="3704000"/>
              <a:ext cx="230432" cy="1439488"/>
            </a:xfrm>
            <a:custGeom>
              <a:avLst/>
              <a:gdLst/>
              <a:ahLst/>
              <a:cxnLst/>
              <a:rect l="l" t="t" r="r" b="b"/>
              <a:pathLst>
                <a:path w="7201" h="44984" extrusionOk="0">
                  <a:moveTo>
                    <a:pt x="0" y="1"/>
                  </a:moveTo>
                  <a:lnTo>
                    <a:pt x="0" y="44984"/>
                  </a:lnTo>
                  <a:lnTo>
                    <a:pt x="7200" y="44984"/>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4" name="Google Shape;34;p2"/>
            <p:cNvSpPr/>
            <p:nvPr/>
          </p:nvSpPr>
          <p:spPr>
            <a:xfrm>
              <a:off x="5843584" y="3821888"/>
              <a:ext cx="230400" cy="1321600"/>
            </a:xfrm>
            <a:custGeom>
              <a:avLst/>
              <a:gdLst/>
              <a:ahLst/>
              <a:cxnLst/>
              <a:rect l="l" t="t" r="r" b="b"/>
              <a:pathLst>
                <a:path w="7200" h="41300" extrusionOk="0">
                  <a:moveTo>
                    <a:pt x="0" y="0"/>
                  </a:moveTo>
                  <a:lnTo>
                    <a:pt x="0"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5" name="Google Shape;35;p2"/>
            <p:cNvSpPr/>
            <p:nvPr/>
          </p:nvSpPr>
          <p:spPr>
            <a:xfrm>
              <a:off x="6120384" y="4329088"/>
              <a:ext cx="230432" cy="814400"/>
            </a:xfrm>
            <a:custGeom>
              <a:avLst/>
              <a:gdLst/>
              <a:ahLst/>
              <a:cxnLst/>
              <a:rect l="l" t="t" r="r" b="b"/>
              <a:pathLst>
                <a:path w="7201" h="25450" extrusionOk="0">
                  <a:moveTo>
                    <a:pt x="1" y="0"/>
                  </a:moveTo>
                  <a:lnTo>
                    <a:pt x="1" y="25450"/>
                  </a:lnTo>
                  <a:lnTo>
                    <a:pt x="7200" y="2545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6" name="Google Shape;36;p2"/>
            <p:cNvSpPr/>
            <p:nvPr/>
          </p:nvSpPr>
          <p:spPr>
            <a:xfrm>
              <a:off x="6399008" y="4120128"/>
              <a:ext cx="228608" cy="1023360"/>
            </a:xfrm>
            <a:custGeom>
              <a:avLst/>
              <a:gdLst/>
              <a:ahLst/>
              <a:cxnLst/>
              <a:rect l="l" t="t" r="r" b="b"/>
              <a:pathLst>
                <a:path w="7144" h="31980" extrusionOk="0">
                  <a:moveTo>
                    <a:pt x="0" y="1"/>
                  </a:moveTo>
                  <a:lnTo>
                    <a:pt x="0" y="31980"/>
                  </a:lnTo>
                  <a:lnTo>
                    <a:pt x="7144" y="31980"/>
                  </a:lnTo>
                  <a:lnTo>
                    <a:pt x="7144"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7" name="Google Shape;37;p2"/>
            <p:cNvSpPr/>
            <p:nvPr/>
          </p:nvSpPr>
          <p:spPr>
            <a:xfrm>
              <a:off x="6675808" y="4538048"/>
              <a:ext cx="230432" cy="605440"/>
            </a:xfrm>
            <a:custGeom>
              <a:avLst/>
              <a:gdLst/>
              <a:ahLst/>
              <a:cxnLst/>
              <a:rect l="l" t="t" r="r" b="b"/>
              <a:pathLst>
                <a:path w="7201" h="18920" extrusionOk="0">
                  <a:moveTo>
                    <a:pt x="1" y="0"/>
                  </a:moveTo>
                  <a:lnTo>
                    <a:pt x="1" y="18920"/>
                  </a:lnTo>
                  <a:lnTo>
                    <a:pt x="7200" y="1892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8" name="Google Shape;38;p2"/>
            <p:cNvSpPr/>
            <p:nvPr/>
          </p:nvSpPr>
          <p:spPr>
            <a:xfrm>
              <a:off x="6952640" y="3939744"/>
              <a:ext cx="230432" cy="1203744"/>
            </a:xfrm>
            <a:custGeom>
              <a:avLst/>
              <a:gdLst/>
              <a:ahLst/>
              <a:cxnLst/>
              <a:rect l="l" t="t" r="r" b="b"/>
              <a:pathLst>
                <a:path w="7201" h="37617" extrusionOk="0">
                  <a:moveTo>
                    <a:pt x="0" y="1"/>
                  </a:moveTo>
                  <a:lnTo>
                    <a:pt x="0"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39" name="Google Shape;39;p2"/>
            <p:cNvSpPr/>
            <p:nvPr/>
          </p:nvSpPr>
          <p:spPr>
            <a:xfrm>
              <a:off x="7229472" y="4220160"/>
              <a:ext cx="230400" cy="923328"/>
            </a:xfrm>
            <a:custGeom>
              <a:avLst/>
              <a:gdLst/>
              <a:ahLst/>
              <a:cxnLst/>
              <a:rect l="l" t="t" r="r" b="b"/>
              <a:pathLst>
                <a:path w="7200" h="28854" extrusionOk="0">
                  <a:moveTo>
                    <a:pt x="0" y="0"/>
                  </a:moveTo>
                  <a:lnTo>
                    <a:pt x="0" y="28854"/>
                  </a:lnTo>
                  <a:lnTo>
                    <a:pt x="7200" y="28854"/>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0" name="Google Shape;40;p2"/>
            <p:cNvSpPr/>
            <p:nvPr/>
          </p:nvSpPr>
          <p:spPr>
            <a:xfrm>
              <a:off x="7506272" y="3768288"/>
              <a:ext cx="230432" cy="1375200"/>
            </a:xfrm>
            <a:custGeom>
              <a:avLst/>
              <a:gdLst/>
              <a:ahLst/>
              <a:cxnLst/>
              <a:rect l="l" t="t" r="r" b="b"/>
              <a:pathLst>
                <a:path w="7201" h="42975" extrusionOk="0">
                  <a:moveTo>
                    <a:pt x="1" y="1"/>
                  </a:moveTo>
                  <a:lnTo>
                    <a:pt x="1" y="42975"/>
                  </a:lnTo>
                  <a:lnTo>
                    <a:pt x="7200" y="42975"/>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1" name="Google Shape;41;p2"/>
            <p:cNvSpPr/>
            <p:nvPr/>
          </p:nvSpPr>
          <p:spPr>
            <a:xfrm>
              <a:off x="7784896" y="4004032"/>
              <a:ext cx="228608" cy="1139456"/>
            </a:xfrm>
            <a:custGeom>
              <a:avLst/>
              <a:gdLst/>
              <a:ahLst/>
              <a:cxnLst/>
              <a:rect l="l" t="t" r="r" b="b"/>
              <a:pathLst>
                <a:path w="7144" h="35608" extrusionOk="0">
                  <a:moveTo>
                    <a:pt x="0" y="1"/>
                  </a:moveTo>
                  <a:lnTo>
                    <a:pt x="0" y="35608"/>
                  </a:lnTo>
                  <a:lnTo>
                    <a:pt x="7144" y="35608"/>
                  </a:lnTo>
                  <a:lnTo>
                    <a:pt x="7144"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2" name="Google Shape;42;p2"/>
            <p:cNvSpPr/>
            <p:nvPr/>
          </p:nvSpPr>
          <p:spPr>
            <a:xfrm>
              <a:off x="8061696" y="3596864"/>
              <a:ext cx="230432" cy="1546624"/>
            </a:xfrm>
            <a:custGeom>
              <a:avLst/>
              <a:gdLst/>
              <a:ahLst/>
              <a:cxnLst/>
              <a:rect l="l" t="t" r="r" b="b"/>
              <a:pathLst>
                <a:path w="7201" h="48332" extrusionOk="0">
                  <a:moveTo>
                    <a:pt x="1" y="0"/>
                  </a:moveTo>
                  <a:lnTo>
                    <a:pt x="1" y="48332"/>
                  </a:lnTo>
                  <a:lnTo>
                    <a:pt x="7200" y="48332"/>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3" name="Google Shape;43;p2"/>
            <p:cNvSpPr/>
            <p:nvPr/>
          </p:nvSpPr>
          <p:spPr>
            <a:xfrm>
              <a:off x="8338528" y="3514688"/>
              <a:ext cx="230400" cy="1628800"/>
            </a:xfrm>
            <a:custGeom>
              <a:avLst/>
              <a:gdLst/>
              <a:ahLst/>
              <a:cxnLst/>
              <a:rect l="l" t="t" r="r" b="b"/>
              <a:pathLst>
                <a:path w="7200" h="50900" extrusionOk="0">
                  <a:moveTo>
                    <a:pt x="0" y="1"/>
                  </a:moveTo>
                  <a:lnTo>
                    <a:pt x="0" y="50900"/>
                  </a:lnTo>
                  <a:lnTo>
                    <a:pt x="7200" y="5090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4" name="Google Shape;44;p2"/>
            <p:cNvSpPr/>
            <p:nvPr/>
          </p:nvSpPr>
          <p:spPr>
            <a:xfrm>
              <a:off x="8615360" y="3939744"/>
              <a:ext cx="230400" cy="1203744"/>
            </a:xfrm>
            <a:custGeom>
              <a:avLst/>
              <a:gdLst/>
              <a:ahLst/>
              <a:cxnLst/>
              <a:rect l="l" t="t" r="r" b="b"/>
              <a:pathLst>
                <a:path w="7200" h="37617" extrusionOk="0">
                  <a:moveTo>
                    <a:pt x="0" y="1"/>
                  </a:moveTo>
                  <a:lnTo>
                    <a:pt x="0"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5" name="Google Shape;45;p2"/>
            <p:cNvSpPr/>
            <p:nvPr/>
          </p:nvSpPr>
          <p:spPr>
            <a:xfrm>
              <a:off x="8893952" y="3596864"/>
              <a:ext cx="228640" cy="1546624"/>
            </a:xfrm>
            <a:custGeom>
              <a:avLst/>
              <a:gdLst/>
              <a:ahLst/>
              <a:cxnLst/>
              <a:rect l="l" t="t" r="r" b="b"/>
              <a:pathLst>
                <a:path w="7145" h="48332" extrusionOk="0">
                  <a:moveTo>
                    <a:pt x="1" y="0"/>
                  </a:moveTo>
                  <a:lnTo>
                    <a:pt x="1" y="48332"/>
                  </a:lnTo>
                  <a:lnTo>
                    <a:pt x="7144" y="48332"/>
                  </a:lnTo>
                  <a:lnTo>
                    <a:pt x="7144"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grpSp>
        <p:nvGrpSpPr>
          <p:cNvPr id="46" name="Google Shape;46;p2"/>
          <p:cNvGrpSpPr/>
          <p:nvPr/>
        </p:nvGrpSpPr>
        <p:grpSpPr>
          <a:xfrm>
            <a:off x="28550" y="4479971"/>
            <a:ext cx="9094048" cy="2378148"/>
            <a:chOff x="28544" y="4157632"/>
            <a:chExt cx="9094048" cy="985856"/>
          </a:xfrm>
        </p:grpSpPr>
        <p:sp>
          <p:nvSpPr>
            <p:cNvPr id="47" name="Google Shape;47;p2"/>
            <p:cNvSpPr/>
            <p:nvPr/>
          </p:nvSpPr>
          <p:spPr>
            <a:xfrm>
              <a:off x="435744" y="4782720"/>
              <a:ext cx="92896" cy="360768"/>
            </a:xfrm>
            <a:custGeom>
              <a:avLst/>
              <a:gdLst/>
              <a:ahLst/>
              <a:cxnLst/>
              <a:rect l="l" t="t" r="r" b="b"/>
              <a:pathLst>
                <a:path w="2903" h="11274" extrusionOk="0">
                  <a:moveTo>
                    <a:pt x="1" y="0"/>
                  </a:moveTo>
                  <a:lnTo>
                    <a:pt x="1" y="11274"/>
                  </a:lnTo>
                  <a:lnTo>
                    <a:pt x="2903" y="11274"/>
                  </a:lnTo>
                  <a:lnTo>
                    <a:pt x="2903"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8" name="Google Shape;48;p2"/>
            <p:cNvSpPr/>
            <p:nvPr/>
          </p:nvSpPr>
          <p:spPr>
            <a:xfrm>
              <a:off x="300032" y="4638048"/>
              <a:ext cx="92896" cy="505440"/>
            </a:xfrm>
            <a:custGeom>
              <a:avLst/>
              <a:gdLst/>
              <a:ahLst/>
              <a:cxnLst/>
              <a:rect l="l" t="t" r="r" b="b"/>
              <a:pathLst>
                <a:path w="2903" h="15795" extrusionOk="0">
                  <a:moveTo>
                    <a:pt x="0" y="1"/>
                  </a:moveTo>
                  <a:lnTo>
                    <a:pt x="0" y="15795"/>
                  </a:lnTo>
                  <a:lnTo>
                    <a:pt x="2902" y="15795"/>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49" name="Google Shape;49;p2"/>
            <p:cNvSpPr/>
            <p:nvPr/>
          </p:nvSpPr>
          <p:spPr>
            <a:xfrm>
              <a:off x="164288" y="4571968"/>
              <a:ext cx="92896" cy="571520"/>
            </a:xfrm>
            <a:custGeom>
              <a:avLst/>
              <a:gdLst/>
              <a:ahLst/>
              <a:cxnLst/>
              <a:rect l="l" t="t" r="r" b="b"/>
              <a:pathLst>
                <a:path w="2903" h="17860" extrusionOk="0">
                  <a:moveTo>
                    <a:pt x="1" y="1"/>
                  </a:moveTo>
                  <a:lnTo>
                    <a:pt x="1" y="17860"/>
                  </a:lnTo>
                  <a:lnTo>
                    <a:pt x="2903" y="17860"/>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0" name="Google Shape;50;p2"/>
            <p:cNvSpPr/>
            <p:nvPr/>
          </p:nvSpPr>
          <p:spPr>
            <a:xfrm>
              <a:off x="28544" y="4739840"/>
              <a:ext cx="92928" cy="403648"/>
            </a:xfrm>
            <a:custGeom>
              <a:avLst/>
              <a:gdLst/>
              <a:ahLst/>
              <a:cxnLst/>
              <a:rect l="l" t="t" r="r" b="b"/>
              <a:pathLst>
                <a:path w="2904" h="12614" extrusionOk="0">
                  <a:moveTo>
                    <a:pt x="1" y="1"/>
                  </a:moveTo>
                  <a:lnTo>
                    <a:pt x="1" y="12614"/>
                  </a:lnTo>
                  <a:lnTo>
                    <a:pt x="2903" y="12614"/>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1" name="Google Shape;51;p2"/>
            <p:cNvSpPr/>
            <p:nvPr/>
          </p:nvSpPr>
          <p:spPr>
            <a:xfrm>
              <a:off x="712576"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2" name="Google Shape;52;p2"/>
            <p:cNvSpPr/>
            <p:nvPr/>
          </p:nvSpPr>
          <p:spPr>
            <a:xfrm>
              <a:off x="576832" y="4752352"/>
              <a:ext cx="94688" cy="391136"/>
            </a:xfrm>
            <a:custGeom>
              <a:avLst/>
              <a:gdLst/>
              <a:ahLst/>
              <a:cxnLst/>
              <a:rect l="l" t="t" r="r" b="b"/>
              <a:pathLst>
                <a:path w="2959" h="12223" extrusionOk="0">
                  <a:moveTo>
                    <a:pt x="1" y="1"/>
                  </a:moveTo>
                  <a:lnTo>
                    <a:pt x="1" y="12223"/>
                  </a:lnTo>
                  <a:lnTo>
                    <a:pt x="2959" y="12223"/>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3" name="Google Shape;53;p2"/>
            <p:cNvSpPr/>
            <p:nvPr/>
          </p:nvSpPr>
          <p:spPr>
            <a:xfrm>
              <a:off x="989408" y="4386240"/>
              <a:ext cx="94656" cy="757248"/>
            </a:xfrm>
            <a:custGeom>
              <a:avLst/>
              <a:gdLst/>
              <a:ahLst/>
              <a:cxnLst/>
              <a:rect l="l" t="t" r="r" b="b"/>
              <a:pathLst>
                <a:path w="2958" h="23664" extrusionOk="0">
                  <a:moveTo>
                    <a:pt x="0" y="0"/>
                  </a:moveTo>
                  <a:lnTo>
                    <a:pt x="0" y="23664"/>
                  </a:lnTo>
                  <a:lnTo>
                    <a:pt x="2958" y="2366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4" name="Google Shape;54;p2"/>
            <p:cNvSpPr/>
            <p:nvPr/>
          </p:nvSpPr>
          <p:spPr>
            <a:xfrm>
              <a:off x="853664" y="4500544"/>
              <a:ext cx="94688" cy="642944"/>
            </a:xfrm>
            <a:custGeom>
              <a:avLst/>
              <a:gdLst/>
              <a:ahLst/>
              <a:cxnLst/>
              <a:rect l="l" t="t" r="r" b="b"/>
              <a:pathLst>
                <a:path w="2959" h="20092" extrusionOk="0">
                  <a:moveTo>
                    <a:pt x="0" y="0"/>
                  </a:moveTo>
                  <a:lnTo>
                    <a:pt x="0" y="20092"/>
                  </a:lnTo>
                  <a:lnTo>
                    <a:pt x="2958" y="20092"/>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5" name="Google Shape;55;p2"/>
            <p:cNvSpPr/>
            <p:nvPr/>
          </p:nvSpPr>
          <p:spPr>
            <a:xfrm>
              <a:off x="1266208" y="4721984"/>
              <a:ext cx="94688" cy="421504"/>
            </a:xfrm>
            <a:custGeom>
              <a:avLst/>
              <a:gdLst/>
              <a:ahLst/>
              <a:cxnLst/>
              <a:rect l="l" t="t" r="r" b="b"/>
              <a:pathLst>
                <a:path w="2959" h="13172" extrusionOk="0">
                  <a:moveTo>
                    <a:pt x="1" y="1"/>
                  </a:moveTo>
                  <a:lnTo>
                    <a:pt x="1" y="13172"/>
                  </a:lnTo>
                  <a:lnTo>
                    <a:pt x="2959" y="1317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 name="Google Shape;56;p2"/>
            <p:cNvSpPr/>
            <p:nvPr/>
          </p:nvSpPr>
          <p:spPr>
            <a:xfrm>
              <a:off x="1130496" y="4518400"/>
              <a:ext cx="94688" cy="625088"/>
            </a:xfrm>
            <a:custGeom>
              <a:avLst/>
              <a:gdLst/>
              <a:ahLst/>
              <a:cxnLst/>
              <a:rect l="l" t="t" r="r" b="b"/>
              <a:pathLst>
                <a:path w="2959" h="19534" extrusionOk="0">
                  <a:moveTo>
                    <a:pt x="0" y="0"/>
                  </a:moveTo>
                  <a:lnTo>
                    <a:pt x="0" y="19534"/>
                  </a:lnTo>
                  <a:lnTo>
                    <a:pt x="2958" y="1953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 name="Google Shape;57;p2"/>
            <p:cNvSpPr/>
            <p:nvPr/>
          </p:nvSpPr>
          <p:spPr>
            <a:xfrm>
              <a:off x="1543040"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 name="Google Shape;58;p2"/>
            <p:cNvSpPr/>
            <p:nvPr/>
          </p:nvSpPr>
          <p:spPr>
            <a:xfrm>
              <a:off x="1407296" y="4721984"/>
              <a:ext cx="94688" cy="421504"/>
            </a:xfrm>
            <a:custGeom>
              <a:avLst/>
              <a:gdLst/>
              <a:ahLst/>
              <a:cxnLst/>
              <a:rect l="l" t="t" r="r" b="b"/>
              <a:pathLst>
                <a:path w="2959" h="13172" extrusionOk="0">
                  <a:moveTo>
                    <a:pt x="1" y="1"/>
                  </a:moveTo>
                  <a:lnTo>
                    <a:pt x="1" y="13172"/>
                  </a:lnTo>
                  <a:lnTo>
                    <a:pt x="2959" y="1317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 name="Google Shape;59;p2"/>
            <p:cNvSpPr/>
            <p:nvPr/>
          </p:nvSpPr>
          <p:spPr>
            <a:xfrm>
              <a:off x="1821632" y="4457664"/>
              <a:ext cx="92896" cy="685824"/>
            </a:xfrm>
            <a:custGeom>
              <a:avLst/>
              <a:gdLst/>
              <a:ahLst/>
              <a:cxnLst/>
              <a:rect l="l" t="t" r="r" b="b"/>
              <a:pathLst>
                <a:path w="2903" h="21432" extrusionOk="0">
                  <a:moveTo>
                    <a:pt x="1" y="1"/>
                  </a:moveTo>
                  <a:lnTo>
                    <a:pt x="1" y="21432"/>
                  </a:lnTo>
                  <a:lnTo>
                    <a:pt x="2903" y="21432"/>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 name="Google Shape;60;p2"/>
            <p:cNvSpPr/>
            <p:nvPr/>
          </p:nvSpPr>
          <p:spPr>
            <a:xfrm>
              <a:off x="1685920" y="4638048"/>
              <a:ext cx="94688" cy="505440"/>
            </a:xfrm>
            <a:custGeom>
              <a:avLst/>
              <a:gdLst/>
              <a:ahLst/>
              <a:cxnLst/>
              <a:rect l="l" t="t" r="r" b="b"/>
              <a:pathLst>
                <a:path w="2959" h="15795" extrusionOk="0">
                  <a:moveTo>
                    <a:pt x="0" y="1"/>
                  </a:moveTo>
                  <a:lnTo>
                    <a:pt x="0" y="15795"/>
                  </a:lnTo>
                  <a:lnTo>
                    <a:pt x="2958" y="15795"/>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 name="Google Shape;61;p2"/>
            <p:cNvSpPr/>
            <p:nvPr/>
          </p:nvSpPr>
          <p:spPr>
            <a:xfrm>
              <a:off x="2098464" y="4386240"/>
              <a:ext cx="94688" cy="757248"/>
            </a:xfrm>
            <a:custGeom>
              <a:avLst/>
              <a:gdLst/>
              <a:ahLst/>
              <a:cxnLst/>
              <a:rect l="l" t="t" r="r" b="b"/>
              <a:pathLst>
                <a:path w="2959" h="23664" extrusionOk="0">
                  <a:moveTo>
                    <a:pt x="0" y="0"/>
                  </a:moveTo>
                  <a:lnTo>
                    <a:pt x="0" y="23664"/>
                  </a:lnTo>
                  <a:lnTo>
                    <a:pt x="2958" y="2366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 name="Google Shape;62;p2"/>
            <p:cNvSpPr/>
            <p:nvPr/>
          </p:nvSpPr>
          <p:spPr>
            <a:xfrm>
              <a:off x="1962720" y="4457664"/>
              <a:ext cx="94688" cy="685824"/>
            </a:xfrm>
            <a:custGeom>
              <a:avLst/>
              <a:gdLst/>
              <a:ahLst/>
              <a:cxnLst/>
              <a:rect l="l" t="t" r="r" b="b"/>
              <a:pathLst>
                <a:path w="2959" h="21432" extrusionOk="0">
                  <a:moveTo>
                    <a:pt x="1" y="1"/>
                  </a:moveTo>
                  <a:lnTo>
                    <a:pt x="1" y="21432"/>
                  </a:lnTo>
                  <a:lnTo>
                    <a:pt x="2959" y="2143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 name="Google Shape;63;p2"/>
            <p:cNvSpPr/>
            <p:nvPr/>
          </p:nvSpPr>
          <p:spPr>
            <a:xfrm>
              <a:off x="2375296" y="4711264"/>
              <a:ext cx="94656" cy="432224"/>
            </a:xfrm>
            <a:custGeom>
              <a:avLst/>
              <a:gdLst/>
              <a:ahLst/>
              <a:cxnLst/>
              <a:rect l="l" t="t" r="r" b="b"/>
              <a:pathLst>
                <a:path w="2958" h="13507" extrusionOk="0">
                  <a:moveTo>
                    <a:pt x="0" y="1"/>
                  </a:moveTo>
                  <a:lnTo>
                    <a:pt x="0" y="13507"/>
                  </a:lnTo>
                  <a:lnTo>
                    <a:pt x="2958" y="13507"/>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 name="Google Shape;64;p2"/>
            <p:cNvSpPr/>
            <p:nvPr/>
          </p:nvSpPr>
          <p:spPr>
            <a:xfrm>
              <a:off x="2239552" y="4536256"/>
              <a:ext cx="94688" cy="607232"/>
            </a:xfrm>
            <a:custGeom>
              <a:avLst/>
              <a:gdLst/>
              <a:ahLst/>
              <a:cxnLst/>
              <a:rect l="l" t="t" r="r" b="b"/>
              <a:pathLst>
                <a:path w="2959" h="18976" extrusionOk="0">
                  <a:moveTo>
                    <a:pt x="0" y="0"/>
                  </a:moveTo>
                  <a:lnTo>
                    <a:pt x="0" y="18976"/>
                  </a:lnTo>
                  <a:lnTo>
                    <a:pt x="2958" y="18976"/>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5" name="Google Shape;65;p2"/>
            <p:cNvSpPr/>
            <p:nvPr/>
          </p:nvSpPr>
          <p:spPr>
            <a:xfrm>
              <a:off x="2652096" y="4704128"/>
              <a:ext cx="94688" cy="439360"/>
            </a:xfrm>
            <a:custGeom>
              <a:avLst/>
              <a:gdLst/>
              <a:ahLst/>
              <a:cxnLst/>
              <a:rect l="l" t="t" r="r" b="b"/>
              <a:pathLst>
                <a:path w="2959" h="13730" extrusionOk="0">
                  <a:moveTo>
                    <a:pt x="1" y="1"/>
                  </a:moveTo>
                  <a:lnTo>
                    <a:pt x="1" y="13730"/>
                  </a:lnTo>
                  <a:lnTo>
                    <a:pt x="2959" y="13730"/>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6" name="Google Shape;66;p2"/>
            <p:cNvSpPr/>
            <p:nvPr/>
          </p:nvSpPr>
          <p:spPr>
            <a:xfrm>
              <a:off x="2516384" y="4764864"/>
              <a:ext cx="94688" cy="378624"/>
            </a:xfrm>
            <a:custGeom>
              <a:avLst/>
              <a:gdLst/>
              <a:ahLst/>
              <a:cxnLst/>
              <a:rect l="l" t="t" r="r" b="b"/>
              <a:pathLst>
                <a:path w="2959" h="11832" extrusionOk="0">
                  <a:moveTo>
                    <a:pt x="0" y="0"/>
                  </a:moveTo>
                  <a:lnTo>
                    <a:pt x="0" y="11832"/>
                  </a:lnTo>
                  <a:lnTo>
                    <a:pt x="2958" y="11832"/>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7" name="Google Shape;67;p2"/>
            <p:cNvSpPr/>
            <p:nvPr/>
          </p:nvSpPr>
          <p:spPr>
            <a:xfrm>
              <a:off x="2930720" y="4421952"/>
              <a:ext cx="92896" cy="721536"/>
            </a:xfrm>
            <a:custGeom>
              <a:avLst/>
              <a:gdLst/>
              <a:ahLst/>
              <a:cxnLst/>
              <a:rect l="l" t="t" r="r" b="b"/>
              <a:pathLst>
                <a:path w="2903" h="22548" extrusionOk="0">
                  <a:moveTo>
                    <a:pt x="0" y="1"/>
                  </a:moveTo>
                  <a:lnTo>
                    <a:pt x="0" y="22548"/>
                  </a:lnTo>
                  <a:lnTo>
                    <a:pt x="2902" y="22548"/>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8" name="Google Shape;68;p2"/>
            <p:cNvSpPr/>
            <p:nvPr/>
          </p:nvSpPr>
          <p:spPr>
            <a:xfrm>
              <a:off x="2794976" y="4638048"/>
              <a:ext cx="92896" cy="505440"/>
            </a:xfrm>
            <a:custGeom>
              <a:avLst/>
              <a:gdLst/>
              <a:ahLst/>
              <a:cxnLst/>
              <a:rect l="l" t="t" r="r" b="b"/>
              <a:pathLst>
                <a:path w="2903" h="15795" extrusionOk="0">
                  <a:moveTo>
                    <a:pt x="1" y="1"/>
                  </a:moveTo>
                  <a:lnTo>
                    <a:pt x="1" y="15795"/>
                  </a:lnTo>
                  <a:lnTo>
                    <a:pt x="2903" y="15795"/>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9" name="Google Shape;69;p2"/>
            <p:cNvSpPr/>
            <p:nvPr/>
          </p:nvSpPr>
          <p:spPr>
            <a:xfrm>
              <a:off x="3207520" y="4386240"/>
              <a:ext cx="94688" cy="757248"/>
            </a:xfrm>
            <a:custGeom>
              <a:avLst/>
              <a:gdLst/>
              <a:ahLst/>
              <a:cxnLst/>
              <a:rect l="l" t="t" r="r" b="b"/>
              <a:pathLst>
                <a:path w="2959" h="23664" extrusionOk="0">
                  <a:moveTo>
                    <a:pt x="1" y="0"/>
                  </a:moveTo>
                  <a:lnTo>
                    <a:pt x="1" y="23664"/>
                  </a:lnTo>
                  <a:lnTo>
                    <a:pt x="2959" y="23664"/>
                  </a:lnTo>
                  <a:lnTo>
                    <a:pt x="2959"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0" name="Google Shape;70;p2"/>
            <p:cNvSpPr/>
            <p:nvPr/>
          </p:nvSpPr>
          <p:spPr>
            <a:xfrm>
              <a:off x="3071808" y="4314784"/>
              <a:ext cx="94688" cy="828704"/>
            </a:xfrm>
            <a:custGeom>
              <a:avLst/>
              <a:gdLst/>
              <a:ahLst/>
              <a:cxnLst/>
              <a:rect l="l" t="t" r="r" b="b"/>
              <a:pathLst>
                <a:path w="2959" h="25897" extrusionOk="0">
                  <a:moveTo>
                    <a:pt x="0" y="1"/>
                  </a:moveTo>
                  <a:lnTo>
                    <a:pt x="0" y="25897"/>
                  </a:lnTo>
                  <a:lnTo>
                    <a:pt x="2958" y="25897"/>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1" name="Google Shape;71;p2"/>
            <p:cNvSpPr/>
            <p:nvPr/>
          </p:nvSpPr>
          <p:spPr>
            <a:xfrm>
              <a:off x="3484352" y="4530912"/>
              <a:ext cx="94688" cy="612576"/>
            </a:xfrm>
            <a:custGeom>
              <a:avLst/>
              <a:gdLst/>
              <a:ahLst/>
              <a:cxnLst/>
              <a:rect l="l" t="t" r="r" b="b"/>
              <a:pathLst>
                <a:path w="2959" h="19143" extrusionOk="0">
                  <a:moveTo>
                    <a:pt x="0" y="0"/>
                  </a:moveTo>
                  <a:lnTo>
                    <a:pt x="0" y="19143"/>
                  </a:lnTo>
                  <a:lnTo>
                    <a:pt x="2958" y="19143"/>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2" name="Google Shape;72;p2"/>
            <p:cNvSpPr/>
            <p:nvPr/>
          </p:nvSpPr>
          <p:spPr>
            <a:xfrm>
              <a:off x="3348608" y="4314784"/>
              <a:ext cx="94688" cy="828704"/>
            </a:xfrm>
            <a:custGeom>
              <a:avLst/>
              <a:gdLst/>
              <a:ahLst/>
              <a:cxnLst/>
              <a:rect l="l" t="t" r="r" b="b"/>
              <a:pathLst>
                <a:path w="2959" h="25897" extrusionOk="0">
                  <a:moveTo>
                    <a:pt x="1" y="1"/>
                  </a:moveTo>
                  <a:lnTo>
                    <a:pt x="1" y="25897"/>
                  </a:lnTo>
                  <a:lnTo>
                    <a:pt x="2959" y="25897"/>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3" name="Google Shape;73;p2"/>
            <p:cNvSpPr/>
            <p:nvPr/>
          </p:nvSpPr>
          <p:spPr>
            <a:xfrm>
              <a:off x="3761184" y="4739840"/>
              <a:ext cx="94656" cy="403648"/>
            </a:xfrm>
            <a:custGeom>
              <a:avLst/>
              <a:gdLst/>
              <a:ahLst/>
              <a:cxnLst/>
              <a:rect l="l" t="t" r="r" b="b"/>
              <a:pathLst>
                <a:path w="2958"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4" name="Google Shape;74;p2"/>
            <p:cNvSpPr/>
            <p:nvPr/>
          </p:nvSpPr>
          <p:spPr>
            <a:xfrm>
              <a:off x="3625440" y="4457664"/>
              <a:ext cx="94688" cy="685824"/>
            </a:xfrm>
            <a:custGeom>
              <a:avLst/>
              <a:gdLst/>
              <a:ahLst/>
              <a:cxnLst/>
              <a:rect l="l" t="t" r="r" b="b"/>
              <a:pathLst>
                <a:path w="2959" h="21432" extrusionOk="0">
                  <a:moveTo>
                    <a:pt x="0" y="1"/>
                  </a:moveTo>
                  <a:lnTo>
                    <a:pt x="0" y="21432"/>
                  </a:lnTo>
                  <a:lnTo>
                    <a:pt x="2958" y="2143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5" name="Google Shape;75;p2"/>
            <p:cNvSpPr/>
            <p:nvPr/>
          </p:nvSpPr>
          <p:spPr>
            <a:xfrm>
              <a:off x="4037984" y="4638048"/>
              <a:ext cx="94688" cy="505440"/>
            </a:xfrm>
            <a:custGeom>
              <a:avLst/>
              <a:gdLst/>
              <a:ahLst/>
              <a:cxnLst/>
              <a:rect l="l" t="t" r="r" b="b"/>
              <a:pathLst>
                <a:path w="2959" h="15795" extrusionOk="0">
                  <a:moveTo>
                    <a:pt x="1" y="1"/>
                  </a:moveTo>
                  <a:lnTo>
                    <a:pt x="1" y="15795"/>
                  </a:lnTo>
                  <a:lnTo>
                    <a:pt x="2959" y="15795"/>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6" name="Google Shape;76;p2"/>
            <p:cNvSpPr/>
            <p:nvPr/>
          </p:nvSpPr>
          <p:spPr>
            <a:xfrm>
              <a:off x="3902272" y="4836288"/>
              <a:ext cx="94656" cy="307200"/>
            </a:xfrm>
            <a:custGeom>
              <a:avLst/>
              <a:gdLst/>
              <a:ahLst/>
              <a:cxnLst/>
              <a:rect l="l" t="t" r="r" b="b"/>
              <a:pathLst>
                <a:path w="2958" h="9600" extrusionOk="0">
                  <a:moveTo>
                    <a:pt x="0" y="1"/>
                  </a:moveTo>
                  <a:lnTo>
                    <a:pt x="0" y="9600"/>
                  </a:lnTo>
                  <a:lnTo>
                    <a:pt x="2958" y="960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7" name="Google Shape;77;p2"/>
            <p:cNvSpPr/>
            <p:nvPr/>
          </p:nvSpPr>
          <p:spPr>
            <a:xfrm>
              <a:off x="4316608" y="4638048"/>
              <a:ext cx="94688" cy="505440"/>
            </a:xfrm>
            <a:custGeom>
              <a:avLst/>
              <a:gdLst/>
              <a:ahLst/>
              <a:cxnLst/>
              <a:rect l="l" t="t" r="r" b="b"/>
              <a:pathLst>
                <a:path w="2959" h="15795" extrusionOk="0">
                  <a:moveTo>
                    <a:pt x="0" y="1"/>
                  </a:moveTo>
                  <a:lnTo>
                    <a:pt x="0" y="15795"/>
                  </a:lnTo>
                  <a:lnTo>
                    <a:pt x="2958" y="15795"/>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8" name="Google Shape;78;p2"/>
            <p:cNvSpPr/>
            <p:nvPr/>
          </p:nvSpPr>
          <p:spPr>
            <a:xfrm>
              <a:off x="4180864"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79" name="Google Shape;79;p2"/>
            <p:cNvSpPr/>
            <p:nvPr/>
          </p:nvSpPr>
          <p:spPr>
            <a:xfrm>
              <a:off x="4593408" y="4571968"/>
              <a:ext cx="94688" cy="571520"/>
            </a:xfrm>
            <a:custGeom>
              <a:avLst/>
              <a:gdLst/>
              <a:ahLst/>
              <a:cxnLst/>
              <a:rect l="l" t="t" r="r" b="b"/>
              <a:pathLst>
                <a:path w="2959" h="17860" extrusionOk="0">
                  <a:moveTo>
                    <a:pt x="1" y="1"/>
                  </a:moveTo>
                  <a:lnTo>
                    <a:pt x="1" y="17860"/>
                  </a:lnTo>
                  <a:lnTo>
                    <a:pt x="2959" y="17860"/>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0" name="Google Shape;80;p2"/>
            <p:cNvSpPr/>
            <p:nvPr/>
          </p:nvSpPr>
          <p:spPr>
            <a:xfrm>
              <a:off x="4457696"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1" name="Google Shape;81;p2"/>
            <p:cNvSpPr/>
            <p:nvPr/>
          </p:nvSpPr>
          <p:spPr>
            <a:xfrm>
              <a:off x="4870240" y="4386240"/>
              <a:ext cx="94688" cy="757248"/>
            </a:xfrm>
            <a:custGeom>
              <a:avLst/>
              <a:gdLst/>
              <a:ahLst/>
              <a:cxnLst/>
              <a:rect l="l" t="t" r="r" b="b"/>
              <a:pathLst>
                <a:path w="2959" h="23664" extrusionOk="0">
                  <a:moveTo>
                    <a:pt x="0" y="0"/>
                  </a:moveTo>
                  <a:lnTo>
                    <a:pt x="0" y="23664"/>
                  </a:lnTo>
                  <a:lnTo>
                    <a:pt x="2958" y="2366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2" name="Google Shape;82;p2"/>
            <p:cNvSpPr/>
            <p:nvPr/>
          </p:nvSpPr>
          <p:spPr>
            <a:xfrm>
              <a:off x="4734496" y="4457664"/>
              <a:ext cx="94688" cy="685824"/>
            </a:xfrm>
            <a:custGeom>
              <a:avLst/>
              <a:gdLst/>
              <a:ahLst/>
              <a:cxnLst/>
              <a:rect l="l" t="t" r="r" b="b"/>
              <a:pathLst>
                <a:path w="2959" h="21432" extrusionOk="0">
                  <a:moveTo>
                    <a:pt x="1" y="1"/>
                  </a:moveTo>
                  <a:lnTo>
                    <a:pt x="1" y="21432"/>
                  </a:lnTo>
                  <a:lnTo>
                    <a:pt x="2959" y="2143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3" name="Google Shape;83;p2"/>
            <p:cNvSpPr/>
            <p:nvPr/>
          </p:nvSpPr>
          <p:spPr>
            <a:xfrm>
              <a:off x="5147072" y="4157632"/>
              <a:ext cx="94656" cy="985856"/>
            </a:xfrm>
            <a:custGeom>
              <a:avLst/>
              <a:gdLst/>
              <a:ahLst/>
              <a:cxnLst/>
              <a:rect l="l" t="t" r="r" b="b"/>
              <a:pathLst>
                <a:path w="2958" h="30808" extrusionOk="0">
                  <a:moveTo>
                    <a:pt x="0" y="1"/>
                  </a:moveTo>
                  <a:lnTo>
                    <a:pt x="0" y="30808"/>
                  </a:lnTo>
                  <a:lnTo>
                    <a:pt x="2958" y="30808"/>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4" name="Google Shape;84;p2"/>
            <p:cNvSpPr/>
            <p:nvPr/>
          </p:nvSpPr>
          <p:spPr>
            <a:xfrm>
              <a:off x="5011328" y="4229088"/>
              <a:ext cx="94688" cy="914400"/>
            </a:xfrm>
            <a:custGeom>
              <a:avLst/>
              <a:gdLst/>
              <a:ahLst/>
              <a:cxnLst/>
              <a:rect l="l" t="t" r="r" b="b"/>
              <a:pathLst>
                <a:path w="2959" h="28575" extrusionOk="0">
                  <a:moveTo>
                    <a:pt x="0" y="0"/>
                  </a:moveTo>
                  <a:lnTo>
                    <a:pt x="0" y="28575"/>
                  </a:lnTo>
                  <a:lnTo>
                    <a:pt x="2958" y="28575"/>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5" name="Google Shape;85;p2"/>
            <p:cNvSpPr/>
            <p:nvPr/>
          </p:nvSpPr>
          <p:spPr>
            <a:xfrm>
              <a:off x="5425664"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6" name="Google Shape;86;p2"/>
            <p:cNvSpPr/>
            <p:nvPr/>
          </p:nvSpPr>
          <p:spPr>
            <a:xfrm>
              <a:off x="5289920" y="4277280"/>
              <a:ext cx="94688" cy="866208"/>
            </a:xfrm>
            <a:custGeom>
              <a:avLst/>
              <a:gdLst/>
              <a:ahLst/>
              <a:cxnLst/>
              <a:rect l="l" t="t" r="r" b="b"/>
              <a:pathLst>
                <a:path w="2959" h="27069" extrusionOk="0">
                  <a:moveTo>
                    <a:pt x="1" y="1"/>
                  </a:moveTo>
                  <a:lnTo>
                    <a:pt x="1" y="27069"/>
                  </a:lnTo>
                  <a:lnTo>
                    <a:pt x="2959" y="27069"/>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7" name="Google Shape;87;p2"/>
            <p:cNvSpPr/>
            <p:nvPr/>
          </p:nvSpPr>
          <p:spPr>
            <a:xfrm>
              <a:off x="5702496" y="4721984"/>
              <a:ext cx="94688" cy="421504"/>
            </a:xfrm>
            <a:custGeom>
              <a:avLst/>
              <a:gdLst/>
              <a:ahLst/>
              <a:cxnLst/>
              <a:rect l="l" t="t" r="r" b="b"/>
              <a:pathLst>
                <a:path w="2959" h="13172" extrusionOk="0">
                  <a:moveTo>
                    <a:pt x="0" y="1"/>
                  </a:moveTo>
                  <a:lnTo>
                    <a:pt x="0" y="13172"/>
                  </a:lnTo>
                  <a:lnTo>
                    <a:pt x="2958" y="1317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8" name="Google Shape;88;p2"/>
            <p:cNvSpPr/>
            <p:nvPr/>
          </p:nvSpPr>
          <p:spPr>
            <a:xfrm>
              <a:off x="5566752" y="4416608"/>
              <a:ext cx="94688" cy="726880"/>
            </a:xfrm>
            <a:custGeom>
              <a:avLst/>
              <a:gdLst/>
              <a:ahLst/>
              <a:cxnLst/>
              <a:rect l="l" t="t" r="r" b="b"/>
              <a:pathLst>
                <a:path w="2959" h="22715" extrusionOk="0">
                  <a:moveTo>
                    <a:pt x="0" y="0"/>
                  </a:moveTo>
                  <a:lnTo>
                    <a:pt x="0" y="22715"/>
                  </a:lnTo>
                  <a:lnTo>
                    <a:pt x="2958" y="22715"/>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89" name="Google Shape;89;p2"/>
            <p:cNvSpPr/>
            <p:nvPr/>
          </p:nvSpPr>
          <p:spPr>
            <a:xfrm>
              <a:off x="5979296" y="4571968"/>
              <a:ext cx="94688" cy="571520"/>
            </a:xfrm>
            <a:custGeom>
              <a:avLst/>
              <a:gdLst/>
              <a:ahLst/>
              <a:cxnLst/>
              <a:rect l="l" t="t" r="r" b="b"/>
              <a:pathLst>
                <a:path w="2959" h="17860" extrusionOk="0">
                  <a:moveTo>
                    <a:pt x="1" y="1"/>
                  </a:moveTo>
                  <a:lnTo>
                    <a:pt x="1" y="17860"/>
                  </a:lnTo>
                  <a:lnTo>
                    <a:pt x="2959" y="17860"/>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0" name="Google Shape;90;p2"/>
            <p:cNvSpPr/>
            <p:nvPr/>
          </p:nvSpPr>
          <p:spPr>
            <a:xfrm>
              <a:off x="5843584" y="4813088"/>
              <a:ext cx="94688" cy="330400"/>
            </a:xfrm>
            <a:custGeom>
              <a:avLst/>
              <a:gdLst/>
              <a:ahLst/>
              <a:cxnLst/>
              <a:rect l="l" t="t" r="r" b="b"/>
              <a:pathLst>
                <a:path w="2959" h="10325" extrusionOk="0">
                  <a:moveTo>
                    <a:pt x="0" y="0"/>
                  </a:moveTo>
                  <a:lnTo>
                    <a:pt x="0" y="10325"/>
                  </a:lnTo>
                  <a:lnTo>
                    <a:pt x="2958" y="10325"/>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1" name="Google Shape;91;p2"/>
            <p:cNvSpPr/>
            <p:nvPr/>
          </p:nvSpPr>
          <p:spPr>
            <a:xfrm>
              <a:off x="6256128" y="4807712"/>
              <a:ext cx="94688" cy="335776"/>
            </a:xfrm>
            <a:custGeom>
              <a:avLst/>
              <a:gdLst/>
              <a:ahLst/>
              <a:cxnLst/>
              <a:rect l="l" t="t" r="r" b="b"/>
              <a:pathLst>
                <a:path w="2959" h="10493" extrusionOk="0">
                  <a:moveTo>
                    <a:pt x="0" y="1"/>
                  </a:moveTo>
                  <a:lnTo>
                    <a:pt x="0" y="10493"/>
                  </a:lnTo>
                  <a:lnTo>
                    <a:pt x="2958" y="10493"/>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2" name="Google Shape;92;p2"/>
            <p:cNvSpPr/>
            <p:nvPr/>
          </p:nvSpPr>
          <p:spPr>
            <a:xfrm>
              <a:off x="6120384" y="4739840"/>
              <a:ext cx="94688" cy="403648"/>
            </a:xfrm>
            <a:custGeom>
              <a:avLst/>
              <a:gdLst/>
              <a:ahLst/>
              <a:cxnLst/>
              <a:rect l="l" t="t" r="r" b="b"/>
              <a:pathLst>
                <a:path w="2959" h="12614" extrusionOk="0">
                  <a:moveTo>
                    <a:pt x="1" y="1"/>
                  </a:moveTo>
                  <a:lnTo>
                    <a:pt x="1" y="12614"/>
                  </a:lnTo>
                  <a:lnTo>
                    <a:pt x="2959" y="12614"/>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3" name="Google Shape;93;p2"/>
            <p:cNvSpPr/>
            <p:nvPr/>
          </p:nvSpPr>
          <p:spPr>
            <a:xfrm>
              <a:off x="6534720" y="4505888"/>
              <a:ext cx="92896" cy="637600"/>
            </a:xfrm>
            <a:custGeom>
              <a:avLst/>
              <a:gdLst/>
              <a:ahLst/>
              <a:cxnLst/>
              <a:rect l="l" t="t" r="r" b="b"/>
              <a:pathLst>
                <a:path w="2903" h="19925" extrusionOk="0">
                  <a:moveTo>
                    <a:pt x="1" y="1"/>
                  </a:moveTo>
                  <a:lnTo>
                    <a:pt x="1" y="19925"/>
                  </a:lnTo>
                  <a:lnTo>
                    <a:pt x="2903" y="19925"/>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4" name="Google Shape;94;p2"/>
            <p:cNvSpPr/>
            <p:nvPr/>
          </p:nvSpPr>
          <p:spPr>
            <a:xfrm>
              <a:off x="6399008" y="4739840"/>
              <a:ext cx="92896" cy="403648"/>
            </a:xfrm>
            <a:custGeom>
              <a:avLst/>
              <a:gdLst/>
              <a:ahLst/>
              <a:cxnLst/>
              <a:rect l="l" t="t" r="r" b="b"/>
              <a:pathLst>
                <a:path w="2903" h="12614" extrusionOk="0">
                  <a:moveTo>
                    <a:pt x="0" y="1"/>
                  </a:moveTo>
                  <a:lnTo>
                    <a:pt x="0" y="12614"/>
                  </a:lnTo>
                  <a:lnTo>
                    <a:pt x="2902" y="12614"/>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5" name="Google Shape;95;p2"/>
            <p:cNvSpPr/>
            <p:nvPr/>
          </p:nvSpPr>
          <p:spPr>
            <a:xfrm>
              <a:off x="6811552" y="4807712"/>
              <a:ext cx="94688" cy="335776"/>
            </a:xfrm>
            <a:custGeom>
              <a:avLst/>
              <a:gdLst/>
              <a:ahLst/>
              <a:cxnLst/>
              <a:rect l="l" t="t" r="r" b="b"/>
              <a:pathLst>
                <a:path w="2959" h="10493" extrusionOk="0">
                  <a:moveTo>
                    <a:pt x="0" y="1"/>
                  </a:moveTo>
                  <a:lnTo>
                    <a:pt x="0" y="10493"/>
                  </a:lnTo>
                  <a:lnTo>
                    <a:pt x="2958" y="10493"/>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6" name="Google Shape;96;p2"/>
            <p:cNvSpPr/>
            <p:nvPr/>
          </p:nvSpPr>
          <p:spPr>
            <a:xfrm>
              <a:off x="6675808" y="4614848"/>
              <a:ext cx="94688" cy="528640"/>
            </a:xfrm>
            <a:custGeom>
              <a:avLst/>
              <a:gdLst/>
              <a:ahLst/>
              <a:cxnLst/>
              <a:rect l="l" t="t" r="r" b="b"/>
              <a:pathLst>
                <a:path w="2959" h="16520" extrusionOk="0">
                  <a:moveTo>
                    <a:pt x="1" y="0"/>
                  </a:moveTo>
                  <a:lnTo>
                    <a:pt x="1" y="16520"/>
                  </a:lnTo>
                  <a:lnTo>
                    <a:pt x="2959" y="16520"/>
                  </a:lnTo>
                  <a:lnTo>
                    <a:pt x="2959"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7" name="Google Shape;97;p2"/>
            <p:cNvSpPr/>
            <p:nvPr/>
          </p:nvSpPr>
          <p:spPr>
            <a:xfrm>
              <a:off x="7088384"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8" name="Google Shape;98;p2"/>
            <p:cNvSpPr/>
            <p:nvPr/>
          </p:nvSpPr>
          <p:spPr>
            <a:xfrm>
              <a:off x="6952640" y="4530912"/>
              <a:ext cx="94688" cy="612576"/>
            </a:xfrm>
            <a:custGeom>
              <a:avLst/>
              <a:gdLst/>
              <a:ahLst/>
              <a:cxnLst/>
              <a:rect l="l" t="t" r="r" b="b"/>
              <a:pathLst>
                <a:path w="2959" h="19143" extrusionOk="0">
                  <a:moveTo>
                    <a:pt x="0" y="0"/>
                  </a:moveTo>
                  <a:lnTo>
                    <a:pt x="0" y="19143"/>
                  </a:lnTo>
                  <a:lnTo>
                    <a:pt x="2958" y="19143"/>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99" name="Google Shape;99;p2"/>
            <p:cNvSpPr/>
            <p:nvPr/>
          </p:nvSpPr>
          <p:spPr>
            <a:xfrm>
              <a:off x="7365184" y="4739840"/>
              <a:ext cx="94688" cy="403648"/>
            </a:xfrm>
            <a:custGeom>
              <a:avLst/>
              <a:gdLst/>
              <a:ahLst/>
              <a:cxnLst/>
              <a:rect l="l" t="t" r="r" b="b"/>
              <a:pathLst>
                <a:path w="2959" h="12614" extrusionOk="0">
                  <a:moveTo>
                    <a:pt x="1" y="1"/>
                  </a:moveTo>
                  <a:lnTo>
                    <a:pt x="1" y="12614"/>
                  </a:lnTo>
                  <a:lnTo>
                    <a:pt x="2959" y="12614"/>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0" name="Google Shape;100;p2"/>
            <p:cNvSpPr/>
            <p:nvPr/>
          </p:nvSpPr>
          <p:spPr>
            <a:xfrm>
              <a:off x="7229472" y="4825568"/>
              <a:ext cx="94688" cy="317920"/>
            </a:xfrm>
            <a:custGeom>
              <a:avLst/>
              <a:gdLst/>
              <a:ahLst/>
              <a:cxnLst/>
              <a:rect l="l" t="t" r="r" b="b"/>
              <a:pathLst>
                <a:path w="2959" h="9935" extrusionOk="0">
                  <a:moveTo>
                    <a:pt x="0" y="1"/>
                  </a:moveTo>
                  <a:lnTo>
                    <a:pt x="0" y="9935"/>
                  </a:lnTo>
                  <a:lnTo>
                    <a:pt x="2958" y="9935"/>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1" name="Google Shape;101;p2"/>
            <p:cNvSpPr/>
            <p:nvPr/>
          </p:nvSpPr>
          <p:spPr>
            <a:xfrm>
              <a:off x="7643808" y="4632704"/>
              <a:ext cx="92896" cy="510784"/>
            </a:xfrm>
            <a:custGeom>
              <a:avLst/>
              <a:gdLst/>
              <a:ahLst/>
              <a:cxnLst/>
              <a:rect l="l" t="t" r="r" b="b"/>
              <a:pathLst>
                <a:path w="2903" h="15962" extrusionOk="0">
                  <a:moveTo>
                    <a:pt x="0" y="0"/>
                  </a:moveTo>
                  <a:lnTo>
                    <a:pt x="0" y="15962"/>
                  </a:lnTo>
                  <a:lnTo>
                    <a:pt x="2902" y="15962"/>
                  </a:lnTo>
                  <a:lnTo>
                    <a:pt x="2902"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2" name="Google Shape;102;p2"/>
            <p:cNvSpPr/>
            <p:nvPr/>
          </p:nvSpPr>
          <p:spPr>
            <a:xfrm>
              <a:off x="7506272" y="4963104"/>
              <a:ext cx="94688" cy="180384"/>
            </a:xfrm>
            <a:custGeom>
              <a:avLst/>
              <a:gdLst/>
              <a:ahLst/>
              <a:cxnLst/>
              <a:rect l="l" t="t" r="r" b="b"/>
              <a:pathLst>
                <a:path w="2959" h="5637" extrusionOk="0">
                  <a:moveTo>
                    <a:pt x="1" y="0"/>
                  </a:moveTo>
                  <a:lnTo>
                    <a:pt x="1" y="5637"/>
                  </a:lnTo>
                  <a:lnTo>
                    <a:pt x="2959" y="5637"/>
                  </a:lnTo>
                  <a:lnTo>
                    <a:pt x="2959"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3" name="Google Shape;103;p2"/>
            <p:cNvSpPr/>
            <p:nvPr/>
          </p:nvSpPr>
          <p:spPr>
            <a:xfrm>
              <a:off x="7920608" y="4909504"/>
              <a:ext cx="94688" cy="233984"/>
            </a:xfrm>
            <a:custGeom>
              <a:avLst/>
              <a:gdLst/>
              <a:ahLst/>
              <a:cxnLst/>
              <a:rect l="l" t="t" r="r" b="b"/>
              <a:pathLst>
                <a:path w="2959" h="7312" extrusionOk="0">
                  <a:moveTo>
                    <a:pt x="1" y="1"/>
                  </a:moveTo>
                  <a:lnTo>
                    <a:pt x="1" y="7312"/>
                  </a:lnTo>
                  <a:lnTo>
                    <a:pt x="2959" y="731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4" name="Google Shape;104;p2"/>
            <p:cNvSpPr/>
            <p:nvPr/>
          </p:nvSpPr>
          <p:spPr>
            <a:xfrm>
              <a:off x="7784896" y="4777344"/>
              <a:ext cx="94688" cy="366144"/>
            </a:xfrm>
            <a:custGeom>
              <a:avLst/>
              <a:gdLst/>
              <a:ahLst/>
              <a:cxnLst/>
              <a:rect l="l" t="t" r="r" b="b"/>
              <a:pathLst>
                <a:path w="2959" h="11442" extrusionOk="0">
                  <a:moveTo>
                    <a:pt x="0" y="1"/>
                  </a:moveTo>
                  <a:lnTo>
                    <a:pt x="0" y="11442"/>
                  </a:lnTo>
                  <a:lnTo>
                    <a:pt x="2958" y="1144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5" name="Google Shape;105;p2"/>
            <p:cNvSpPr/>
            <p:nvPr/>
          </p:nvSpPr>
          <p:spPr>
            <a:xfrm>
              <a:off x="8197440"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6" name="Google Shape;106;p2"/>
            <p:cNvSpPr/>
            <p:nvPr/>
          </p:nvSpPr>
          <p:spPr>
            <a:xfrm>
              <a:off x="8061696" y="4777344"/>
              <a:ext cx="94688" cy="366144"/>
            </a:xfrm>
            <a:custGeom>
              <a:avLst/>
              <a:gdLst/>
              <a:ahLst/>
              <a:cxnLst/>
              <a:rect l="l" t="t" r="r" b="b"/>
              <a:pathLst>
                <a:path w="2959" h="11442" extrusionOk="0">
                  <a:moveTo>
                    <a:pt x="1" y="1"/>
                  </a:moveTo>
                  <a:lnTo>
                    <a:pt x="1" y="11442"/>
                  </a:lnTo>
                  <a:lnTo>
                    <a:pt x="2959" y="1144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7" name="Google Shape;107;p2"/>
            <p:cNvSpPr/>
            <p:nvPr/>
          </p:nvSpPr>
          <p:spPr>
            <a:xfrm>
              <a:off x="8474272" y="4721984"/>
              <a:ext cx="94656" cy="421504"/>
            </a:xfrm>
            <a:custGeom>
              <a:avLst/>
              <a:gdLst/>
              <a:ahLst/>
              <a:cxnLst/>
              <a:rect l="l" t="t" r="r" b="b"/>
              <a:pathLst>
                <a:path w="2958" h="13172" extrusionOk="0">
                  <a:moveTo>
                    <a:pt x="0" y="1"/>
                  </a:moveTo>
                  <a:lnTo>
                    <a:pt x="0" y="13172"/>
                  </a:lnTo>
                  <a:lnTo>
                    <a:pt x="2958" y="1317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8" name="Google Shape;108;p2"/>
            <p:cNvSpPr/>
            <p:nvPr/>
          </p:nvSpPr>
          <p:spPr>
            <a:xfrm>
              <a:off x="8338528" y="4488032"/>
              <a:ext cx="94688" cy="655456"/>
            </a:xfrm>
            <a:custGeom>
              <a:avLst/>
              <a:gdLst/>
              <a:ahLst/>
              <a:cxnLst/>
              <a:rect l="l" t="t" r="r" b="b"/>
              <a:pathLst>
                <a:path w="2959" h="20483" extrusionOk="0">
                  <a:moveTo>
                    <a:pt x="0" y="1"/>
                  </a:moveTo>
                  <a:lnTo>
                    <a:pt x="0" y="20483"/>
                  </a:lnTo>
                  <a:lnTo>
                    <a:pt x="2958" y="20483"/>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09" name="Google Shape;109;p2"/>
            <p:cNvSpPr/>
            <p:nvPr/>
          </p:nvSpPr>
          <p:spPr>
            <a:xfrm>
              <a:off x="8751072" y="4409440"/>
              <a:ext cx="94688" cy="734048"/>
            </a:xfrm>
            <a:custGeom>
              <a:avLst/>
              <a:gdLst/>
              <a:ahLst/>
              <a:cxnLst/>
              <a:rect l="l" t="t" r="r" b="b"/>
              <a:pathLst>
                <a:path w="2959" h="22939" extrusionOk="0">
                  <a:moveTo>
                    <a:pt x="1" y="1"/>
                  </a:moveTo>
                  <a:lnTo>
                    <a:pt x="1" y="22939"/>
                  </a:lnTo>
                  <a:lnTo>
                    <a:pt x="2959" y="22939"/>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10" name="Google Shape;110;p2"/>
            <p:cNvSpPr/>
            <p:nvPr/>
          </p:nvSpPr>
          <p:spPr>
            <a:xfrm>
              <a:off x="8615360" y="4295168"/>
              <a:ext cx="94688" cy="848320"/>
            </a:xfrm>
            <a:custGeom>
              <a:avLst/>
              <a:gdLst/>
              <a:ahLst/>
              <a:cxnLst/>
              <a:rect l="l" t="t" r="r" b="b"/>
              <a:pathLst>
                <a:path w="2959" h="26510" extrusionOk="0">
                  <a:moveTo>
                    <a:pt x="0" y="0"/>
                  </a:moveTo>
                  <a:lnTo>
                    <a:pt x="0" y="26510"/>
                  </a:lnTo>
                  <a:lnTo>
                    <a:pt x="2958" y="26510"/>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11" name="Google Shape;111;p2"/>
            <p:cNvSpPr/>
            <p:nvPr/>
          </p:nvSpPr>
          <p:spPr>
            <a:xfrm>
              <a:off x="9029696" y="4409440"/>
              <a:ext cx="92896" cy="734048"/>
            </a:xfrm>
            <a:custGeom>
              <a:avLst/>
              <a:gdLst/>
              <a:ahLst/>
              <a:cxnLst/>
              <a:rect l="l" t="t" r="r" b="b"/>
              <a:pathLst>
                <a:path w="2903" h="22939" extrusionOk="0">
                  <a:moveTo>
                    <a:pt x="0" y="1"/>
                  </a:moveTo>
                  <a:lnTo>
                    <a:pt x="0" y="22939"/>
                  </a:lnTo>
                  <a:lnTo>
                    <a:pt x="2902" y="22939"/>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12" name="Google Shape;112;p2"/>
            <p:cNvSpPr/>
            <p:nvPr/>
          </p:nvSpPr>
          <p:spPr>
            <a:xfrm>
              <a:off x="8893952" y="4180864"/>
              <a:ext cx="92896" cy="962624"/>
            </a:xfrm>
            <a:custGeom>
              <a:avLst/>
              <a:gdLst/>
              <a:ahLst/>
              <a:cxnLst/>
              <a:rect l="l" t="t" r="r" b="b"/>
              <a:pathLst>
                <a:path w="2903" h="30082" extrusionOk="0">
                  <a:moveTo>
                    <a:pt x="1" y="0"/>
                  </a:moveTo>
                  <a:lnTo>
                    <a:pt x="1" y="30082"/>
                  </a:lnTo>
                  <a:lnTo>
                    <a:pt x="2903" y="30082"/>
                  </a:lnTo>
                  <a:lnTo>
                    <a:pt x="2903"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
        <p:nvSpPr>
          <p:cNvPr id="113" name="Google Shape;113;p2"/>
          <p:cNvSpPr/>
          <p:nvPr/>
        </p:nvSpPr>
        <p:spPr>
          <a:xfrm>
            <a:off x="0" y="2973317"/>
            <a:ext cx="9144000" cy="1724075"/>
          </a:xfrm>
          <a:custGeom>
            <a:avLst/>
            <a:gdLst/>
            <a:ahLst/>
            <a:cxnLst/>
            <a:rect l="l" t="t" r="r" b="b"/>
            <a:pathLst>
              <a:path w="285750" h="40408" extrusionOk="0">
                <a:moveTo>
                  <a:pt x="160288" y="224"/>
                </a:moveTo>
                <a:lnTo>
                  <a:pt x="160455" y="279"/>
                </a:lnTo>
                <a:lnTo>
                  <a:pt x="160623" y="335"/>
                </a:lnTo>
                <a:lnTo>
                  <a:pt x="160679" y="503"/>
                </a:lnTo>
                <a:lnTo>
                  <a:pt x="160734" y="670"/>
                </a:lnTo>
                <a:lnTo>
                  <a:pt x="160679" y="838"/>
                </a:lnTo>
                <a:lnTo>
                  <a:pt x="160623" y="1005"/>
                </a:lnTo>
                <a:lnTo>
                  <a:pt x="160455" y="1061"/>
                </a:lnTo>
                <a:lnTo>
                  <a:pt x="160288" y="1117"/>
                </a:lnTo>
                <a:lnTo>
                  <a:pt x="160120" y="1061"/>
                </a:lnTo>
                <a:lnTo>
                  <a:pt x="159953" y="1005"/>
                </a:lnTo>
                <a:lnTo>
                  <a:pt x="159897" y="838"/>
                </a:lnTo>
                <a:lnTo>
                  <a:pt x="159841" y="670"/>
                </a:lnTo>
                <a:lnTo>
                  <a:pt x="159897" y="503"/>
                </a:lnTo>
                <a:lnTo>
                  <a:pt x="159953" y="335"/>
                </a:lnTo>
                <a:lnTo>
                  <a:pt x="160120" y="279"/>
                </a:lnTo>
                <a:lnTo>
                  <a:pt x="160288" y="224"/>
                </a:lnTo>
                <a:close/>
                <a:moveTo>
                  <a:pt x="264319" y="670"/>
                </a:moveTo>
                <a:lnTo>
                  <a:pt x="264486" y="726"/>
                </a:lnTo>
                <a:lnTo>
                  <a:pt x="264654" y="782"/>
                </a:lnTo>
                <a:lnTo>
                  <a:pt x="264709" y="949"/>
                </a:lnTo>
                <a:lnTo>
                  <a:pt x="264765" y="1117"/>
                </a:lnTo>
                <a:lnTo>
                  <a:pt x="264709" y="1284"/>
                </a:lnTo>
                <a:lnTo>
                  <a:pt x="264654" y="1451"/>
                </a:lnTo>
                <a:lnTo>
                  <a:pt x="264486" y="1507"/>
                </a:lnTo>
                <a:lnTo>
                  <a:pt x="264319" y="1563"/>
                </a:lnTo>
                <a:lnTo>
                  <a:pt x="264151" y="1507"/>
                </a:lnTo>
                <a:lnTo>
                  <a:pt x="263984" y="1451"/>
                </a:lnTo>
                <a:lnTo>
                  <a:pt x="263928" y="1284"/>
                </a:lnTo>
                <a:lnTo>
                  <a:pt x="263872" y="1117"/>
                </a:lnTo>
                <a:lnTo>
                  <a:pt x="263928" y="949"/>
                </a:lnTo>
                <a:lnTo>
                  <a:pt x="263984" y="782"/>
                </a:lnTo>
                <a:lnTo>
                  <a:pt x="264151" y="726"/>
                </a:lnTo>
                <a:lnTo>
                  <a:pt x="264319" y="670"/>
                </a:lnTo>
                <a:close/>
                <a:moveTo>
                  <a:pt x="281508" y="2902"/>
                </a:moveTo>
                <a:lnTo>
                  <a:pt x="281676" y="2958"/>
                </a:lnTo>
                <a:lnTo>
                  <a:pt x="281843" y="3014"/>
                </a:lnTo>
                <a:lnTo>
                  <a:pt x="281899" y="3182"/>
                </a:lnTo>
                <a:lnTo>
                  <a:pt x="281955" y="3349"/>
                </a:lnTo>
                <a:lnTo>
                  <a:pt x="281899" y="3516"/>
                </a:lnTo>
                <a:lnTo>
                  <a:pt x="281843" y="3684"/>
                </a:lnTo>
                <a:lnTo>
                  <a:pt x="281676" y="3740"/>
                </a:lnTo>
                <a:lnTo>
                  <a:pt x="281508" y="3795"/>
                </a:lnTo>
                <a:lnTo>
                  <a:pt x="281341" y="3740"/>
                </a:lnTo>
                <a:lnTo>
                  <a:pt x="281174" y="3684"/>
                </a:lnTo>
                <a:lnTo>
                  <a:pt x="281118" y="3516"/>
                </a:lnTo>
                <a:lnTo>
                  <a:pt x="281062" y="3349"/>
                </a:lnTo>
                <a:lnTo>
                  <a:pt x="281118" y="3182"/>
                </a:lnTo>
                <a:lnTo>
                  <a:pt x="281174" y="3014"/>
                </a:lnTo>
                <a:lnTo>
                  <a:pt x="281341" y="2958"/>
                </a:lnTo>
                <a:lnTo>
                  <a:pt x="281508" y="2902"/>
                </a:lnTo>
                <a:close/>
                <a:moveTo>
                  <a:pt x="177701" y="6251"/>
                </a:moveTo>
                <a:lnTo>
                  <a:pt x="177868" y="6307"/>
                </a:lnTo>
                <a:lnTo>
                  <a:pt x="178036" y="6363"/>
                </a:lnTo>
                <a:lnTo>
                  <a:pt x="178091" y="6530"/>
                </a:lnTo>
                <a:lnTo>
                  <a:pt x="178147" y="6698"/>
                </a:lnTo>
                <a:lnTo>
                  <a:pt x="178091" y="6865"/>
                </a:lnTo>
                <a:lnTo>
                  <a:pt x="178036" y="7032"/>
                </a:lnTo>
                <a:lnTo>
                  <a:pt x="177868" y="7088"/>
                </a:lnTo>
                <a:lnTo>
                  <a:pt x="177701" y="7144"/>
                </a:lnTo>
                <a:lnTo>
                  <a:pt x="177533" y="7088"/>
                </a:lnTo>
                <a:lnTo>
                  <a:pt x="177366" y="7032"/>
                </a:lnTo>
                <a:lnTo>
                  <a:pt x="177310" y="6865"/>
                </a:lnTo>
                <a:lnTo>
                  <a:pt x="177254" y="6698"/>
                </a:lnTo>
                <a:lnTo>
                  <a:pt x="177310" y="6530"/>
                </a:lnTo>
                <a:lnTo>
                  <a:pt x="177366" y="6363"/>
                </a:lnTo>
                <a:lnTo>
                  <a:pt x="177533" y="6307"/>
                </a:lnTo>
                <a:lnTo>
                  <a:pt x="177701" y="6251"/>
                </a:lnTo>
                <a:close/>
                <a:moveTo>
                  <a:pt x="90860" y="12055"/>
                </a:moveTo>
                <a:lnTo>
                  <a:pt x="91027" y="12111"/>
                </a:lnTo>
                <a:lnTo>
                  <a:pt x="91194" y="12167"/>
                </a:lnTo>
                <a:lnTo>
                  <a:pt x="91250" y="12334"/>
                </a:lnTo>
                <a:lnTo>
                  <a:pt x="91306" y="12502"/>
                </a:lnTo>
                <a:lnTo>
                  <a:pt x="91250" y="12669"/>
                </a:lnTo>
                <a:lnTo>
                  <a:pt x="91194" y="12837"/>
                </a:lnTo>
                <a:lnTo>
                  <a:pt x="91027" y="12893"/>
                </a:lnTo>
                <a:lnTo>
                  <a:pt x="90860" y="12948"/>
                </a:lnTo>
                <a:lnTo>
                  <a:pt x="90692" y="12893"/>
                </a:lnTo>
                <a:lnTo>
                  <a:pt x="90525" y="12837"/>
                </a:lnTo>
                <a:lnTo>
                  <a:pt x="90469" y="12669"/>
                </a:lnTo>
                <a:lnTo>
                  <a:pt x="90413" y="12502"/>
                </a:lnTo>
                <a:lnTo>
                  <a:pt x="90469" y="12334"/>
                </a:lnTo>
                <a:lnTo>
                  <a:pt x="90525" y="12167"/>
                </a:lnTo>
                <a:lnTo>
                  <a:pt x="90692" y="12111"/>
                </a:lnTo>
                <a:lnTo>
                  <a:pt x="90860" y="12055"/>
                </a:lnTo>
                <a:close/>
                <a:moveTo>
                  <a:pt x="246683" y="15404"/>
                </a:moveTo>
                <a:lnTo>
                  <a:pt x="246850" y="15460"/>
                </a:lnTo>
                <a:lnTo>
                  <a:pt x="247017" y="15516"/>
                </a:lnTo>
                <a:lnTo>
                  <a:pt x="247073" y="15683"/>
                </a:lnTo>
                <a:lnTo>
                  <a:pt x="247129" y="15851"/>
                </a:lnTo>
                <a:lnTo>
                  <a:pt x="247073" y="16018"/>
                </a:lnTo>
                <a:lnTo>
                  <a:pt x="247017" y="16185"/>
                </a:lnTo>
                <a:lnTo>
                  <a:pt x="246850" y="16241"/>
                </a:lnTo>
                <a:lnTo>
                  <a:pt x="246683" y="16297"/>
                </a:lnTo>
                <a:lnTo>
                  <a:pt x="246515" y="16241"/>
                </a:lnTo>
                <a:lnTo>
                  <a:pt x="246348" y="16185"/>
                </a:lnTo>
                <a:lnTo>
                  <a:pt x="246292" y="16018"/>
                </a:lnTo>
                <a:lnTo>
                  <a:pt x="246236" y="15851"/>
                </a:lnTo>
                <a:lnTo>
                  <a:pt x="246292" y="15683"/>
                </a:lnTo>
                <a:lnTo>
                  <a:pt x="246348" y="15516"/>
                </a:lnTo>
                <a:lnTo>
                  <a:pt x="246515" y="15460"/>
                </a:lnTo>
                <a:lnTo>
                  <a:pt x="246683" y="15404"/>
                </a:lnTo>
                <a:close/>
                <a:moveTo>
                  <a:pt x="142875" y="15627"/>
                </a:moveTo>
                <a:lnTo>
                  <a:pt x="143042" y="15683"/>
                </a:lnTo>
                <a:lnTo>
                  <a:pt x="143210" y="15739"/>
                </a:lnTo>
                <a:lnTo>
                  <a:pt x="143266" y="15906"/>
                </a:lnTo>
                <a:lnTo>
                  <a:pt x="143321" y="16074"/>
                </a:lnTo>
                <a:lnTo>
                  <a:pt x="143266" y="16241"/>
                </a:lnTo>
                <a:lnTo>
                  <a:pt x="143210" y="16409"/>
                </a:lnTo>
                <a:lnTo>
                  <a:pt x="143042" y="16464"/>
                </a:lnTo>
                <a:lnTo>
                  <a:pt x="142875" y="16520"/>
                </a:lnTo>
                <a:lnTo>
                  <a:pt x="142708" y="16464"/>
                </a:lnTo>
                <a:lnTo>
                  <a:pt x="142540" y="16409"/>
                </a:lnTo>
                <a:lnTo>
                  <a:pt x="142484" y="16241"/>
                </a:lnTo>
                <a:lnTo>
                  <a:pt x="142429" y="16074"/>
                </a:lnTo>
                <a:lnTo>
                  <a:pt x="142484" y="15906"/>
                </a:lnTo>
                <a:lnTo>
                  <a:pt x="142540" y="15739"/>
                </a:lnTo>
                <a:lnTo>
                  <a:pt x="142708" y="15683"/>
                </a:lnTo>
                <a:lnTo>
                  <a:pt x="142875" y="15627"/>
                </a:lnTo>
                <a:close/>
                <a:moveTo>
                  <a:pt x="125685" y="17413"/>
                </a:moveTo>
                <a:lnTo>
                  <a:pt x="125853" y="17469"/>
                </a:lnTo>
                <a:lnTo>
                  <a:pt x="126020" y="17525"/>
                </a:lnTo>
                <a:lnTo>
                  <a:pt x="126076" y="17692"/>
                </a:lnTo>
                <a:lnTo>
                  <a:pt x="126132" y="17860"/>
                </a:lnTo>
                <a:lnTo>
                  <a:pt x="126076" y="18027"/>
                </a:lnTo>
                <a:lnTo>
                  <a:pt x="126020" y="18195"/>
                </a:lnTo>
                <a:lnTo>
                  <a:pt x="125853" y="18250"/>
                </a:lnTo>
                <a:lnTo>
                  <a:pt x="125685" y="18306"/>
                </a:lnTo>
                <a:lnTo>
                  <a:pt x="125518" y="18250"/>
                </a:lnTo>
                <a:lnTo>
                  <a:pt x="125350" y="18195"/>
                </a:lnTo>
                <a:lnTo>
                  <a:pt x="125295" y="18027"/>
                </a:lnTo>
                <a:lnTo>
                  <a:pt x="125239" y="17860"/>
                </a:lnTo>
                <a:lnTo>
                  <a:pt x="125295" y="17692"/>
                </a:lnTo>
                <a:lnTo>
                  <a:pt x="125350" y="17525"/>
                </a:lnTo>
                <a:lnTo>
                  <a:pt x="125518" y="17469"/>
                </a:lnTo>
                <a:lnTo>
                  <a:pt x="125685" y="17413"/>
                </a:lnTo>
                <a:close/>
                <a:moveTo>
                  <a:pt x="73670" y="17636"/>
                </a:moveTo>
                <a:lnTo>
                  <a:pt x="73837" y="17692"/>
                </a:lnTo>
                <a:lnTo>
                  <a:pt x="74005" y="17748"/>
                </a:lnTo>
                <a:lnTo>
                  <a:pt x="74061" y="17915"/>
                </a:lnTo>
                <a:lnTo>
                  <a:pt x="74116" y="18083"/>
                </a:lnTo>
                <a:lnTo>
                  <a:pt x="74061" y="18250"/>
                </a:lnTo>
                <a:lnTo>
                  <a:pt x="74005" y="18418"/>
                </a:lnTo>
                <a:lnTo>
                  <a:pt x="73837" y="18474"/>
                </a:lnTo>
                <a:lnTo>
                  <a:pt x="73670" y="18529"/>
                </a:lnTo>
                <a:lnTo>
                  <a:pt x="73502" y="18474"/>
                </a:lnTo>
                <a:lnTo>
                  <a:pt x="73335" y="18418"/>
                </a:lnTo>
                <a:lnTo>
                  <a:pt x="73279" y="18250"/>
                </a:lnTo>
                <a:lnTo>
                  <a:pt x="73223" y="18083"/>
                </a:lnTo>
                <a:lnTo>
                  <a:pt x="73279" y="17915"/>
                </a:lnTo>
                <a:lnTo>
                  <a:pt x="73335" y="17748"/>
                </a:lnTo>
                <a:lnTo>
                  <a:pt x="73502" y="17692"/>
                </a:lnTo>
                <a:lnTo>
                  <a:pt x="73670" y="17636"/>
                </a:lnTo>
                <a:close/>
                <a:moveTo>
                  <a:pt x="21543" y="17971"/>
                </a:moveTo>
                <a:lnTo>
                  <a:pt x="21710" y="18027"/>
                </a:lnTo>
                <a:lnTo>
                  <a:pt x="21878" y="18083"/>
                </a:lnTo>
                <a:lnTo>
                  <a:pt x="21934" y="18250"/>
                </a:lnTo>
                <a:lnTo>
                  <a:pt x="21989" y="18418"/>
                </a:lnTo>
                <a:lnTo>
                  <a:pt x="21934" y="18585"/>
                </a:lnTo>
                <a:lnTo>
                  <a:pt x="21878" y="18753"/>
                </a:lnTo>
                <a:lnTo>
                  <a:pt x="21710" y="18808"/>
                </a:lnTo>
                <a:lnTo>
                  <a:pt x="21543" y="18864"/>
                </a:lnTo>
                <a:lnTo>
                  <a:pt x="21375" y="18808"/>
                </a:lnTo>
                <a:lnTo>
                  <a:pt x="21208" y="18753"/>
                </a:lnTo>
                <a:lnTo>
                  <a:pt x="21152" y="18585"/>
                </a:lnTo>
                <a:lnTo>
                  <a:pt x="21096" y="18418"/>
                </a:lnTo>
                <a:lnTo>
                  <a:pt x="21152" y="18250"/>
                </a:lnTo>
                <a:lnTo>
                  <a:pt x="21208" y="18083"/>
                </a:lnTo>
                <a:lnTo>
                  <a:pt x="21375" y="18027"/>
                </a:lnTo>
                <a:lnTo>
                  <a:pt x="21543" y="17971"/>
                </a:lnTo>
                <a:close/>
                <a:moveTo>
                  <a:pt x="229716" y="22101"/>
                </a:moveTo>
                <a:lnTo>
                  <a:pt x="229884" y="22157"/>
                </a:lnTo>
                <a:lnTo>
                  <a:pt x="230051" y="22213"/>
                </a:lnTo>
                <a:lnTo>
                  <a:pt x="230107" y="22380"/>
                </a:lnTo>
                <a:lnTo>
                  <a:pt x="230163" y="22548"/>
                </a:lnTo>
                <a:lnTo>
                  <a:pt x="230107" y="22715"/>
                </a:lnTo>
                <a:lnTo>
                  <a:pt x="230051" y="22883"/>
                </a:lnTo>
                <a:lnTo>
                  <a:pt x="229884" y="22938"/>
                </a:lnTo>
                <a:lnTo>
                  <a:pt x="229716" y="22994"/>
                </a:lnTo>
                <a:lnTo>
                  <a:pt x="229549" y="22938"/>
                </a:lnTo>
                <a:lnTo>
                  <a:pt x="229381" y="22883"/>
                </a:lnTo>
                <a:lnTo>
                  <a:pt x="229326" y="22715"/>
                </a:lnTo>
                <a:lnTo>
                  <a:pt x="229270" y="22548"/>
                </a:lnTo>
                <a:lnTo>
                  <a:pt x="229326" y="22380"/>
                </a:lnTo>
                <a:lnTo>
                  <a:pt x="229381" y="22213"/>
                </a:lnTo>
                <a:lnTo>
                  <a:pt x="229549" y="22157"/>
                </a:lnTo>
                <a:lnTo>
                  <a:pt x="229716" y="22101"/>
                </a:lnTo>
                <a:close/>
                <a:moveTo>
                  <a:pt x="194890" y="25450"/>
                </a:moveTo>
                <a:lnTo>
                  <a:pt x="195058" y="25506"/>
                </a:lnTo>
                <a:lnTo>
                  <a:pt x="195225" y="25562"/>
                </a:lnTo>
                <a:lnTo>
                  <a:pt x="195281" y="25729"/>
                </a:lnTo>
                <a:lnTo>
                  <a:pt x="195337" y="25896"/>
                </a:lnTo>
                <a:lnTo>
                  <a:pt x="195281" y="26064"/>
                </a:lnTo>
                <a:lnTo>
                  <a:pt x="195225" y="26231"/>
                </a:lnTo>
                <a:lnTo>
                  <a:pt x="195058" y="26287"/>
                </a:lnTo>
                <a:lnTo>
                  <a:pt x="194890" y="26343"/>
                </a:lnTo>
                <a:lnTo>
                  <a:pt x="194723" y="26287"/>
                </a:lnTo>
                <a:lnTo>
                  <a:pt x="194556" y="26231"/>
                </a:lnTo>
                <a:lnTo>
                  <a:pt x="194500" y="26064"/>
                </a:lnTo>
                <a:lnTo>
                  <a:pt x="194444" y="25896"/>
                </a:lnTo>
                <a:lnTo>
                  <a:pt x="194500" y="25729"/>
                </a:lnTo>
                <a:lnTo>
                  <a:pt x="194556" y="25562"/>
                </a:lnTo>
                <a:lnTo>
                  <a:pt x="194723" y="25506"/>
                </a:lnTo>
                <a:lnTo>
                  <a:pt x="194890" y="25450"/>
                </a:lnTo>
                <a:close/>
                <a:moveTo>
                  <a:pt x="4465" y="26789"/>
                </a:moveTo>
                <a:lnTo>
                  <a:pt x="4632" y="26845"/>
                </a:lnTo>
                <a:lnTo>
                  <a:pt x="4800" y="26901"/>
                </a:lnTo>
                <a:lnTo>
                  <a:pt x="4856" y="27068"/>
                </a:lnTo>
                <a:lnTo>
                  <a:pt x="4911" y="27236"/>
                </a:lnTo>
                <a:lnTo>
                  <a:pt x="4856" y="27403"/>
                </a:lnTo>
                <a:lnTo>
                  <a:pt x="4800" y="27571"/>
                </a:lnTo>
                <a:lnTo>
                  <a:pt x="4632" y="27627"/>
                </a:lnTo>
                <a:lnTo>
                  <a:pt x="4465" y="27682"/>
                </a:lnTo>
                <a:lnTo>
                  <a:pt x="4297" y="27627"/>
                </a:lnTo>
                <a:lnTo>
                  <a:pt x="4130" y="27571"/>
                </a:lnTo>
                <a:lnTo>
                  <a:pt x="4074" y="27403"/>
                </a:lnTo>
                <a:lnTo>
                  <a:pt x="4018" y="27236"/>
                </a:lnTo>
                <a:lnTo>
                  <a:pt x="4074" y="27068"/>
                </a:lnTo>
                <a:lnTo>
                  <a:pt x="4130" y="26901"/>
                </a:lnTo>
                <a:lnTo>
                  <a:pt x="4297" y="26845"/>
                </a:lnTo>
                <a:lnTo>
                  <a:pt x="4465" y="26789"/>
                </a:lnTo>
                <a:close/>
                <a:moveTo>
                  <a:pt x="108272" y="29915"/>
                </a:moveTo>
                <a:lnTo>
                  <a:pt x="108440" y="29971"/>
                </a:lnTo>
                <a:lnTo>
                  <a:pt x="108607" y="30026"/>
                </a:lnTo>
                <a:lnTo>
                  <a:pt x="108663" y="30194"/>
                </a:lnTo>
                <a:lnTo>
                  <a:pt x="108719" y="30361"/>
                </a:lnTo>
                <a:lnTo>
                  <a:pt x="108663" y="30529"/>
                </a:lnTo>
                <a:lnTo>
                  <a:pt x="108607" y="30696"/>
                </a:lnTo>
                <a:lnTo>
                  <a:pt x="108440" y="30752"/>
                </a:lnTo>
                <a:lnTo>
                  <a:pt x="108272" y="30808"/>
                </a:lnTo>
                <a:lnTo>
                  <a:pt x="108105" y="30752"/>
                </a:lnTo>
                <a:lnTo>
                  <a:pt x="107938" y="30696"/>
                </a:lnTo>
                <a:lnTo>
                  <a:pt x="107882" y="30529"/>
                </a:lnTo>
                <a:lnTo>
                  <a:pt x="107826" y="30361"/>
                </a:lnTo>
                <a:lnTo>
                  <a:pt x="107882" y="30194"/>
                </a:lnTo>
                <a:lnTo>
                  <a:pt x="107938" y="30026"/>
                </a:lnTo>
                <a:lnTo>
                  <a:pt x="108105" y="29971"/>
                </a:lnTo>
                <a:lnTo>
                  <a:pt x="108272" y="29915"/>
                </a:lnTo>
                <a:close/>
                <a:moveTo>
                  <a:pt x="212080" y="32147"/>
                </a:moveTo>
                <a:lnTo>
                  <a:pt x="212248" y="32203"/>
                </a:lnTo>
                <a:lnTo>
                  <a:pt x="212415" y="32259"/>
                </a:lnTo>
                <a:lnTo>
                  <a:pt x="212471" y="32426"/>
                </a:lnTo>
                <a:lnTo>
                  <a:pt x="212527" y="32594"/>
                </a:lnTo>
                <a:lnTo>
                  <a:pt x="212471" y="32761"/>
                </a:lnTo>
                <a:lnTo>
                  <a:pt x="212415" y="32928"/>
                </a:lnTo>
                <a:lnTo>
                  <a:pt x="212248" y="32984"/>
                </a:lnTo>
                <a:lnTo>
                  <a:pt x="212080" y="33040"/>
                </a:lnTo>
                <a:lnTo>
                  <a:pt x="211913" y="32984"/>
                </a:lnTo>
                <a:lnTo>
                  <a:pt x="211745" y="32928"/>
                </a:lnTo>
                <a:lnTo>
                  <a:pt x="211689" y="32761"/>
                </a:lnTo>
                <a:lnTo>
                  <a:pt x="211634" y="32594"/>
                </a:lnTo>
                <a:lnTo>
                  <a:pt x="211689" y="32426"/>
                </a:lnTo>
                <a:lnTo>
                  <a:pt x="211745" y="32259"/>
                </a:lnTo>
                <a:lnTo>
                  <a:pt x="211913" y="32203"/>
                </a:lnTo>
                <a:lnTo>
                  <a:pt x="212080" y="32147"/>
                </a:lnTo>
                <a:close/>
                <a:moveTo>
                  <a:pt x="56257" y="36389"/>
                </a:moveTo>
                <a:lnTo>
                  <a:pt x="56424" y="36445"/>
                </a:lnTo>
                <a:lnTo>
                  <a:pt x="56592" y="36500"/>
                </a:lnTo>
                <a:lnTo>
                  <a:pt x="56648" y="36668"/>
                </a:lnTo>
                <a:lnTo>
                  <a:pt x="56704" y="36835"/>
                </a:lnTo>
                <a:lnTo>
                  <a:pt x="56648" y="37003"/>
                </a:lnTo>
                <a:lnTo>
                  <a:pt x="56592" y="37170"/>
                </a:lnTo>
                <a:lnTo>
                  <a:pt x="56424" y="37226"/>
                </a:lnTo>
                <a:lnTo>
                  <a:pt x="56257" y="37282"/>
                </a:lnTo>
                <a:lnTo>
                  <a:pt x="56090" y="37226"/>
                </a:lnTo>
                <a:lnTo>
                  <a:pt x="55922" y="37170"/>
                </a:lnTo>
                <a:lnTo>
                  <a:pt x="55866" y="37003"/>
                </a:lnTo>
                <a:lnTo>
                  <a:pt x="55811" y="36835"/>
                </a:lnTo>
                <a:lnTo>
                  <a:pt x="55866" y="36668"/>
                </a:lnTo>
                <a:lnTo>
                  <a:pt x="55922" y="36500"/>
                </a:lnTo>
                <a:lnTo>
                  <a:pt x="56090" y="36445"/>
                </a:lnTo>
                <a:lnTo>
                  <a:pt x="56257" y="36389"/>
                </a:lnTo>
                <a:close/>
                <a:moveTo>
                  <a:pt x="39067" y="39291"/>
                </a:moveTo>
                <a:lnTo>
                  <a:pt x="39235" y="39347"/>
                </a:lnTo>
                <a:lnTo>
                  <a:pt x="39402" y="39403"/>
                </a:lnTo>
                <a:lnTo>
                  <a:pt x="39458" y="39570"/>
                </a:lnTo>
                <a:lnTo>
                  <a:pt x="39514" y="39737"/>
                </a:lnTo>
                <a:lnTo>
                  <a:pt x="39458" y="39905"/>
                </a:lnTo>
                <a:lnTo>
                  <a:pt x="39402" y="40072"/>
                </a:lnTo>
                <a:lnTo>
                  <a:pt x="39235" y="40128"/>
                </a:lnTo>
                <a:lnTo>
                  <a:pt x="39067" y="40184"/>
                </a:lnTo>
                <a:lnTo>
                  <a:pt x="38900" y="40128"/>
                </a:lnTo>
                <a:lnTo>
                  <a:pt x="38733" y="40072"/>
                </a:lnTo>
                <a:lnTo>
                  <a:pt x="38677" y="39905"/>
                </a:lnTo>
                <a:lnTo>
                  <a:pt x="38621" y="39737"/>
                </a:lnTo>
                <a:lnTo>
                  <a:pt x="38677" y="39570"/>
                </a:lnTo>
                <a:lnTo>
                  <a:pt x="38733" y="39403"/>
                </a:lnTo>
                <a:lnTo>
                  <a:pt x="38900" y="39347"/>
                </a:lnTo>
                <a:lnTo>
                  <a:pt x="39067" y="39291"/>
                </a:lnTo>
                <a:close/>
                <a:moveTo>
                  <a:pt x="160288" y="0"/>
                </a:moveTo>
                <a:lnTo>
                  <a:pt x="160009" y="56"/>
                </a:lnTo>
                <a:lnTo>
                  <a:pt x="159841" y="224"/>
                </a:lnTo>
                <a:lnTo>
                  <a:pt x="159674" y="391"/>
                </a:lnTo>
                <a:lnTo>
                  <a:pt x="159618" y="670"/>
                </a:lnTo>
                <a:lnTo>
                  <a:pt x="159674" y="893"/>
                </a:lnTo>
                <a:lnTo>
                  <a:pt x="143266" y="15571"/>
                </a:lnTo>
                <a:lnTo>
                  <a:pt x="143098" y="15460"/>
                </a:lnTo>
                <a:lnTo>
                  <a:pt x="142875" y="15404"/>
                </a:lnTo>
                <a:lnTo>
                  <a:pt x="142652" y="15460"/>
                </a:lnTo>
                <a:lnTo>
                  <a:pt x="142429" y="15571"/>
                </a:lnTo>
                <a:lnTo>
                  <a:pt x="142317" y="15739"/>
                </a:lnTo>
                <a:lnTo>
                  <a:pt x="142205" y="15906"/>
                </a:lnTo>
                <a:lnTo>
                  <a:pt x="126299" y="17581"/>
                </a:lnTo>
                <a:lnTo>
                  <a:pt x="126188" y="17413"/>
                </a:lnTo>
                <a:lnTo>
                  <a:pt x="126020" y="17302"/>
                </a:lnTo>
                <a:lnTo>
                  <a:pt x="125853" y="17190"/>
                </a:lnTo>
                <a:lnTo>
                  <a:pt x="125685" y="17190"/>
                </a:lnTo>
                <a:lnTo>
                  <a:pt x="125406" y="17246"/>
                </a:lnTo>
                <a:lnTo>
                  <a:pt x="125239" y="17413"/>
                </a:lnTo>
                <a:lnTo>
                  <a:pt x="125071" y="17581"/>
                </a:lnTo>
                <a:lnTo>
                  <a:pt x="125016" y="17860"/>
                </a:lnTo>
                <a:lnTo>
                  <a:pt x="125016" y="18027"/>
                </a:lnTo>
                <a:lnTo>
                  <a:pt x="108775" y="29915"/>
                </a:lnTo>
                <a:lnTo>
                  <a:pt x="108552" y="29747"/>
                </a:lnTo>
                <a:lnTo>
                  <a:pt x="108272" y="29691"/>
                </a:lnTo>
                <a:lnTo>
                  <a:pt x="107993" y="29747"/>
                </a:lnTo>
                <a:lnTo>
                  <a:pt x="107770" y="29915"/>
                </a:lnTo>
                <a:lnTo>
                  <a:pt x="91473" y="12781"/>
                </a:lnTo>
                <a:lnTo>
                  <a:pt x="91529" y="12502"/>
                </a:lnTo>
                <a:lnTo>
                  <a:pt x="91473" y="12223"/>
                </a:lnTo>
                <a:lnTo>
                  <a:pt x="91306" y="12055"/>
                </a:lnTo>
                <a:lnTo>
                  <a:pt x="91139" y="11888"/>
                </a:lnTo>
                <a:lnTo>
                  <a:pt x="90860" y="11832"/>
                </a:lnTo>
                <a:lnTo>
                  <a:pt x="90581" y="11888"/>
                </a:lnTo>
                <a:lnTo>
                  <a:pt x="90413" y="12055"/>
                </a:lnTo>
                <a:lnTo>
                  <a:pt x="90246" y="12223"/>
                </a:lnTo>
                <a:lnTo>
                  <a:pt x="90190" y="12502"/>
                </a:lnTo>
                <a:lnTo>
                  <a:pt x="74172" y="17636"/>
                </a:lnTo>
                <a:lnTo>
                  <a:pt x="73949" y="17469"/>
                </a:lnTo>
                <a:lnTo>
                  <a:pt x="73837" y="17413"/>
                </a:lnTo>
                <a:lnTo>
                  <a:pt x="73670" y="17413"/>
                </a:lnTo>
                <a:lnTo>
                  <a:pt x="73391" y="17469"/>
                </a:lnTo>
                <a:lnTo>
                  <a:pt x="73223" y="17636"/>
                </a:lnTo>
                <a:lnTo>
                  <a:pt x="73056" y="17804"/>
                </a:lnTo>
                <a:lnTo>
                  <a:pt x="73000" y="18083"/>
                </a:lnTo>
                <a:lnTo>
                  <a:pt x="73056" y="18362"/>
                </a:lnTo>
                <a:lnTo>
                  <a:pt x="56759" y="36389"/>
                </a:lnTo>
                <a:lnTo>
                  <a:pt x="56536" y="36221"/>
                </a:lnTo>
                <a:lnTo>
                  <a:pt x="56257" y="36165"/>
                </a:lnTo>
                <a:lnTo>
                  <a:pt x="55978" y="36221"/>
                </a:lnTo>
                <a:lnTo>
                  <a:pt x="55811" y="36389"/>
                </a:lnTo>
                <a:lnTo>
                  <a:pt x="55643" y="36556"/>
                </a:lnTo>
                <a:lnTo>
                  <a:pt x="55587" y="36835"/>
                </a:lnTo>
                <a:lnTo>
                  <a:pt x="55587" y="36947"/>
                </a:lnTo>
                <a:lnTo>
                  <a:pt x="39737" y="39626"/>
                </a:lnTo>
                <a:lnTo>
                  <a:pt x="39737" y="39737"/>
                </a:lnTo>
                <a:lnTo>
                  <a:pt x="39681" y="39458"/>
                </a:lnTo>
                <a:lnTo>
                  <a:pt x="39514" y="39291"/>
                </a:lnTo>
                <a:lnTo>
                  <a:pt x="39346" y="39123"/>
                </a:lnTo>
                <a:lnTo>
                  <a:pt x="39067" y="39068"/>
                </a:lnTo>
                <a:lnTo>
                  <a:pt x="38844" y="39123"/>
                </a:lnTo>
                <a:lnTo>
                  <a:pt x="38621" y="39235"/>
                </a:lnTo>
                <a:lnTo>
                  <a:pt x="22045" y="18864"/>
                </a:lnTo>
                <a:lnTo>
                  <a:pt x="22157" y="18641"/>
                </a:lnTo>
                <a:lnTo>
                  <a:pt x="22213" y="18418"/>
                </a:lnTo>
                <a:lnTo>
                  <a:pt x="22157" y="18139"/>
                </a:lnTo>
                <a:lnTo>
                  <a:pt x="21989" y="17971"/>
                </a:lnTo>
                <a:lnTo>
                  <a:pt x="21822" y="17804"/>
                </a:lnTo>
                <a:lnTo>
                  <a:pt x="21543" y="17748"/>
                </a:lnTo>
                <a:lnTo>
                  <a:pt x="21264" y="17804"/>
                </a:lnTo>
                <a:lnTo>
                  <a:pt x="21096" y="17971"/>
                </a:lnTo>
                <a:lnTo>
                  <a:pt x="20929" y="18139"/>
                </a:lnTo>
                <a:lnTo>
                  <a:pt x="20873" y="18418"/>
                </a:lnTo>
                <a:lnTo>
                  <a:pt x="20929" y="18641"/>
                </a:lnTo>
                <a:lnTo>
                  <a:pt x="4967" y="26789"/>
                </a:lnTo>
                <a:lnTo>
                  <a:pt x="4744" y="26622"/>
                </a:lnTo>
                <a:lnTo>
                  <a:pt x="4465" y="26566"/>
                </a:lnTo>
                <a:lnTo>
                  <a:pt x="4242" y="26622"/>
                </a:lnTo>
                <a:lnTo>
                  <a:pt x="4018" y="26734"/>
                </a:lnTo>
                <a:lnTo>
                  <a:pt x="0" y="24948"/>
                </a:lnTo>
                <a:lnTo>
                  <a:pt x="0" y="25171"/>
                </a:lnTo>
                <a:lnTo>
                  <a:pt x="3851" y="26901"/>
                </a:lnTo>
                <a:lnTo>
                  <a:pt x="3795" y="27068"/>
                </a:lnTo>
                <a:lnTo>
                  <a:pt x="3795" y="27236"/>
                </a:lnTo>
                <a:lnTo>
                  <a:pt x="3851" y="27515"/>
                </a:lnTo>
                <a:lnTo>
                  <a:pt x="4018" y="27682"/>
                </a:lnTo>
                <a:lnTo>
                  <a:pt x="4186" y="27850"/>
                </a:lnTo>
                <a:lnTo>
                  <a:pt x="4465" y="27906"/>
                </a:lnTo>
                <a:lnTo>
                  <a:pt x="4744" y="27850"/>
                </a:lnTo>
                <a:lnTo>
                  <a:pt x="4911" y="27682"/>
                </a:lnTo>
                <a:lnTo>
                  <a:pt x="5079" y="27515"/>
                </a:lnTo>
                <a:lnTo>
                  <a:pt x="5135" y="27236"/>
                </a:lnTo>
                <a:lnTo>
                  <a:pt x="5079" y="27013"/>
                </a:lnTo>
                <a:lnTo>
                  <a:pt x="20985" y="18808"/>
                </a:lnTo>
                <a:lnTo>
                  <a:pt x="21096" y="18920"/>
                </a:lnTo>
                <a:lnTo>
                  <a:pt x="21264" y="19032"/>
                </a:lnTo>
                <a:lnTo>
                  <a:pt x="21375" y="19088"/>
                </a:lnTo>
                <a:lnTo>
                  <a:pt x="21710" y="19088"/>
                </a:lnTo>
                <a:lnTo>
                  <a:pt x="21878" y="18976"/>
                </a:lnTo>
                <a:lnTo>
                  <a:pt x="38453" y="39458"/>
                </a:lnTo>
                <a:lnTo>
                  <a:pt x="38398" y="39570"/>
                </a:lnTo>
                <a:lnTo>
                  <a:pt x="38398" y="39737"/>
                </a:lnTo>
                <a:lnTo>
                  <a:pt x="38453" y="40016"/>
                </a:lnTo>
                <a:lnTo>
                  <a:pt x="38621" y="40184"/>
                </a:lnTo>
                <a:lnTo>
                  <a:pt x="38788" y="40351"/>
                </a:lnTo>
                <a:lnTo>
                  <a:pt x="39067" y="40407"/>
                </a:lnTo>
                <a:lnTo>
                  <a:pt x="39291" y="40351"/>
                </a:lnTo>
                <a:lnTo>
                  <a:pt x="39514" y="40240"/>
                </a:lnTo>
                <a:lnTo>
                  <a:pt x="39625" y="40072"/>
                </a:lnTo>
                <a:lnTo>
                  <a:pt x="39737" y="39849"/>
                </a:lnTo>
                <a:lnTo>
                  <a:pt x="55699" y="37170"/>
                </a:lnTo>
                <a:lnTo>
                  <a:pt x="55811" y="37282"/>
                </a:lnTo>
                <a:lnTo>
                  <a:pt x="55922" y="37393"/>
                </a:lnTo>
                <a:lnTo>
                  <a:pt x="56090" y="37505"/>
                </a:lnTo>
                <a:lnTo>
                  <a:pt x="56257" y="37505"/>
                </a:lnTo>
                <a:lnTo>
                  <a:pt x="56536" y="37449"/>
                </a:lnTo>
                <a:lnTo>
                  <a:pt x="56704" y="37282"/>
                </a:lnTo>
                <a:lnTo>
                  <a:pt x="56871" y="37114"/>
                </a:lnTo>
                <a:lnTo>
                  <a:pt x="56927" y="36835"/>
                </a:lnTo>
                <a:lnTo>
                  <a:pt x="56871" y="36556"/>
                </a:lnTo>
                <a:lnTo>
                  <a:pt x="73168" y="18529"/>
                </a:lnTo>
                <a:lnTo>
                  <a:pt x="73391" y="18697"/>
                </a:lnTo>
                <a:lnTo>
                  <a:pt x="73670" y="18753"/>
                </a:lnTo>
                <a:lnTo>
                  <a:pt x="73949" y="18697"/>
                </a:lnTo>
                <a:lnTo>
                  <a:pt x="74116" y="18529"/>
                </a:lnTo>
                <a:lnTo>
                  <a:pt x="74284" y="18362"/>
                </a:lnTo>
                <a:lnTo>
                  <a:pt x="74340" y="18083"/>
                </a:lnTo>
                <a:lnTo>
                  <a:pt x="74284" y="17860"/>
                </a:lnTo>
                <a:lnTo>
                  <a:pt x="90246" y="12725"/>
                </a:lnTo>
                <a:lnTo>
                  <a:pt x="90357" y="12893"/>
                </a:lnTo>
                <a:lnTo>
                  <a:pt x="90469" y="13060"/>
                </a:lnTo>
                <a:lnTo>
                  <a:pt x="90636" y="13116"/>
                </a:lnTo>
                <a:lnTo>
                  <a:pt x="90860" y="13172"/>
                </a:lnTo>
                <a:lnTo>
                  <a:pt x="91139" y="13116"/>
                </a:lnTo>
                <a:lnTo>
                  <a:pt x="91362" y="12948"/>
                </a:lnTo>
                <a:lnTo>
                  <a:pt x="107659" y="30082"/>
                </a:lnTo>
                <a:lnTo>
                  <a:pt x="107603" y="30361"/>
                </a:lnTo>
                <a:lnTo>
                  <a:pt x="107659" y="30640"/>
                </a:lnTo>
                <a:lnTo>
                  <a:pt x="107826" y="30808"/>
                </a:lnTo>
                <a:lnTo>
                  <a:pt x="107993" y="30975"/>
                </a:lnTo>
                <a:lnTo>
                  <a:pt x="108272" y="31031"/>
                </a:lnTo>
                <a:lnTo>
                  <a:pt x="108552" y="30975"/>
                </a:lnTo>
                <a:lnTo>
                  <a:pt x="108719" y="30808"/>
                </a:lnTo>
                <a:lnTo>
                  <a:pt x="108886" y="30640"/>
                </a:lnTo>
                <a:lnTo>
                  <a:pt x="108942" y="30361"/>
                </a:lnTo>
                <a:lnTo>
                  <a:pt x="108886" y="30082"/>
                </a:lnTo>
                <a:lnTo>
                  <a:pt x="125127" y="18195"/>
                </a:lnTo>
                <a:lnTo>
                  <a:pt x="125239" y="18362"/>
                </a:lnTo>
                <a:lnTo>
                  <a:pt x="125350" y="18418"/>
                </a:lnTo>
                <a:lnTo>
                  <a:pt x="125518" y="18529"/>
                </a:lnTo>
                <a:lnTo>
                  <a:pt x="125685" y="18529"/>
                </a:lnTo>
                <a:lnTo>
                  <a:pt x="125964" y="18474"/>
                </a:lnTo>
                <a:lnTo>
                  <a:pt x="126132" y="18306"/>
                </a:lnTo>
                <a:lnTo>
                  <a:pt x="126299" y="18139"/>
                </a:lnTo>
                <a:lnTo>
                  <a:pt x="126355" y="17860"/>
                </a:lnTo>
                <a:lnTo>
                  <a:pt x="126355" y="17804"/>
                </a:lnTo>
                <a:lnTo>
                  <a:pt x="142205" y="16130"/>
                </a:lnTo>
                <a:lnTo>
                  <a:pt x="142261" y="16409"/>
                </a:lnTo>
                <a:lnTo>
                  <a:pt x="142429" y="16576"/>
                </a:lnTo>
                <a:lnTo>
                  <a:pt x="142652" y="16688"/>
                </a:lnTo>
                <a:lnTo>
                  <a:pt x="142875" y="16743"/>
                </a:lnTo>
                <a:lnTo>
                  <a:pt x="143154" y="16688"/>
                </a:lnTo>
                <a:lnTo>
                  <a:pt x="143321" y="16520"/>
                </a:lnTo>
                <a:lnTo>
                  <a:pt x="143489" y="16353"/>
                </a:lnTo>
                <a:lnTo>
                  <a:pt x="143545" y="16074"/>
                </a:lnTo>
                <a:lnTo>
                  <a:pt x="143489" y="15906"/>
                </a:lnTo>
                <a:lnTo>
                  <a:pt x="143433" y="15683"/>
                </a:lnTo>
                <a:lnTo>
                  <a:pt x="159786" y="1061"/>
                </a:lnTo>
                <a:lnTo>
                  <a:pt x="160009" y="1284"/>
                </a:lnTo>
                <a:lnTo>
                  <a:pt x="160120" y="1340"/>
                </a:lnTo>
                <a:lnTo>
                  <a:pt x="160288" y="1340"/>
                </a:lnTo>
                <a:lnTo>
                  <a:pt x="160511" y="1284"/>
                </a:lnTo>
                <a:lnTo>
                  <a:pt x="160679" y="1228"/>
                </a:lnTo>
                <a:lnTo>
                  <a:pt x="160790" y="1117"/>
                </a:lnTo>
                <a:lnTo>
                  <a:pt x="160902" y="949"/>
                </a:lnTo>
                <a:lnTo>
                  <a:pt x="177031" y="6530"/>
                </a:lnTo>
                <a:lnTo>
                  <a:pt x="177031" y="6698"/>
                </a:lnTo>
                <a:lnTo>
                  <a:pt x="177087" y="6977"/>
                </a:lnTo>
                <a:lnTo>
                  <a:pt x="177254" y="7144"/>
                </a:lnTo>
                <a:lnTo>
                  <a:pt x="177422" y="7312"/>
                </a:lnTo>
                <a:lnTo>
                  <a:pt x="177701" y="7367"/>
                </a:lnTo>
                <a:lnTo>
                  <a:pt x="177868" y="7367"/>
                </a:lnTo>
                <a:lnTo>
                  <a:pt x="178036" y="7256"/>
                </a:lnTo>
                <a:lnTo>
                  <a:pt x="194388" y="25450"/>
                </a:lnTo>
                <a:lnTo>
                  <a:pt x="194277" y="25673"/>
                </a:lnTo>
                <a:lnTo>
                  <a:pt x="194221" y="25896"/>
                </a:lnTo>
                <a:lnTo>
                  <a:pt x="194277" y="26175"/>
                </a:lnTo>
                <a:lnTo>
                  <a:pt x="194444" y="26343"/>
                </a:lnTo>
                <a:lnTo>
                  <a:pt x="194611" y="26510"/>
                </a:lnTo>
                <a:lnTo>
                  <a:pt x="194890" y="26566"/>
                </a:lnTo>
                <a:lnTo>
                  <a:pt x="195058" y="26566"/>
                </a:lnTo>
                <a:lnTo>
                  <a:pt x="195169" y="26510"/>
                </a:lnTo>
                <a:lnTo>
                  <a:pt x="195337" y="26399"/>
                </a:lnTo>
                <a:lnTo>
                  <a:pt x="195449" y="26287"/>
                </a:lnTo>
                <a:lnTo>
                  <a:pt x="211410" y="32538"/>
                </a:lnTo>
                <a:lnTo>
                  <a:pt x="211410" y="32594"/>
                </a:lnTo>
                <a:lnTo>
                  <a:pt x="211466" y="32873"/>
                </a:lnTo>
                <a:lnTo>
                  <a:pt x="211634" y="33040"/>
                </a:lnTo>
                <a:lnTo>
                  <a:pt x="211801" y="33208"/>
                </a:lnTo>
                <a:lnTo>
                  <a:pt x="212080" y="33263"/>
                </a:lnTo>
                <a:lnTo>
                  <a:pt x="212359" y="33208"/>
                </a:lnTo>
                <a:lnTo>
                  <a:pt x="212527" y="33040"/>
                </a:lnTo>
                <a:lnTo>
                  <a:pt x="212694" y="32873"/>
                </a:lnTo>
                <a:lnTo>
                  <a:pt x="212750" y="32594"/>
                </a:lnTo>
                <a:lnTo>
                  <a:pt x="212750" y="32538"/>
                </a:lnTo>
                <a:lnTo>
                  <a:pt x="229214" y="22994"/>
                </a:lnTo>
                <a:lnTo>
                  <a:pt x="229437" y="23162"/>
                </a:lnTo>
                <a:lnTo>
                  <a:pt x="229716" y="23217"/>
                </a:lnTo>
                <a:lnTo>
                  <a:pt x="229995" y="23162"/>
                </a:lnTo>
                <a:lnTo>
                  <a:pt x="230163" y="22994"/>
                </a:lnTo>
                <a:lnTo>
                  <a:pt x="230330" y="22827"/>
                </a:lnTo>
                <a:lnTo>
                  <a:pt x="230386" y="22548"/>
                </a:lnTo>
                <a:lnTo>
                  <a:pt x="230386" y="22492"/>
                </a:lnTo>
                <a:lnTo>
                  <a:pt x="246180" y="16297"/>
                </a:lnTo>
                <a:lnTo>
                  <a:pt x="246404" y="16464"/>
                </a:lnTo>
                <a:lnTo>
                  <a:pt x="246683" y="16520"/>
                </a:lnTo>
                <a:lnTo>
                  <a:pt x="246962" y="16464"/>
                </a:lnTo>
                <a:lnTo>
                  <a:pt x="247129" y="16297"/>
                </a:lnTo>
                <a:lnTo>
                  <a:pt x="247297" y="16130"/>
                </a:lnTo>
                <a:lnTo>
                  <a:pt x="247352" y="15851"/>
                </a:lnTo>
                <a:lnTo>
                  <a:pt x="247297" y="15683"/>
                </a:lnTo>
                <a:lnTo>
                  <a:pt x="263761" y="1507"/>
                </a:lnTo>
                <a:lnTo>
                  <a:pt x="263872" y="1619"/>
                </a:lnTo>
                <a:lnTo>
                  <a:pt x="264040" y="1730"/>
                </a:lnTo>
                <a:lnTo>
                  <a:pt x="264151" y="1786"/>
                </a:lnTo>
                <a:lnTo>
                  <a:pt x="264319" y="1786"/>
                </a:lnTo>
                <a:lnTo>
                  <a:pt x="264542" y="1730"/>
                </a:lnTo>
                <a:lnTo>
                  <a:pt x="264765" y="1619"/>
                </a:lnTo>
                <a:lnTo>
                  <a:pt x="264877" y="1451"/>
                </a:lnTo>
                <a:lnTo>
                  <a:pt x="264988" y="1228"/>
                </a:lnTo>
                <a:lnTo>
                  <a:pt x="280839" y="3237"/>
                </a:lnTo>
                <a:lnTo>
                  <a:pt x="280839" y="3349"/>
                </a:lnTo>
                <a:lnTo>
                  <a:pt x="280894" y="3628"/>
                </a:lnTo>
                <a:lnTo>
                  <a:pt x="281062" y="3795"/>
                </a:lnTo>
                <a:lnTo>
                  <a:pt x="281229" y="3963"/>
                </a:lnTo>
                <a:lnTo>
                  <a:pt x="281508" y="4019"/>
                </a:lnTo>
                <a:lnTo>
                  <a:pt x="281787" y="3963"/>
                </a:lnTo>
                <a:lnTo>
                  <a:pt x="281955" y="3795"/>
                </a:lnTo>
                <a:lnTo>
                  <a:pt x="282122" y="3628"/>
                </a:lnTo>
                <a:lnTo>
                  <a:pt x="282178" y="3349"/>
                </a:lnTo>
                <a:lnTo>
                  <a:pt x="285750" y="3349"/>
                </a:lnTo>
                <a:lnTo>
                  <a:pt x="285750" y="3126"/>
                </a:lnTo>
                <a:lnTo>
                  <a:pt x="282122" y="3126"/>
                </a:lnTo>
                <a:lnTo>
                  <a:pt x="282067" y="2958"/>
                </a:lnTo>
                <a:lnTo>
                  <a:pt x="281899" y="2791"/>
                </a:lnTo>
                <a:lnTo>
                  <a:pt x="281732" y="2735"/>
                </a:lnTo>
                <a:lnTo>
                  <a:pt x="281508" y="2679"/>
                </a:lnTo>
                <a:lnTo>
                  <a:pt x="281341" y="2679"/>
                </a:lnTo>
                <a:lnTo>
                  <a:pt x="281174" y="2791"/>
                </a:lnTo>
                <a:lnTo>
                  <a:pt x="281006" y="2902"/>
                </a:lnTo>
                <a:lnTo>
                  <a:pt x="280894" y="3014"/>
                </a:lnTo>
                <a:lnTo>
                  <a:pt x="264988" y="1005"/>
                </a:lnTo>
                <a:lnTo>
                  <a:pt x="264877" y="782"/>
                </a:lnTo>
                <a:lnTo>
                  <a:pt x="264765" y="614"/>
                </a:lnTo>
                <a:lnTo>
                  <a:pt x="264542" y="503"/>
                </a:lnTo>
                <a:lnTo>
                  <a:pt x="264319" y="447"/>
                </a:lnTo>
                <a:lnTo>
                  <a:pt x="264040" y="503"/>
                </a:lnTo>
                <a:lnTo>
                  <a:pt x="263872" y="670"/>
                </a:lnTo>
                <a:lnTo>
                  <a:pt x="263705" y="838"/>
                </a:lnTo>
                <a:lnTo>
                  <a:pt x="263649" y="1117"/>
                </a:lnTo>
                <a:lnTo>
                  <a:pt x="263705" y="1284"/>
                </a:lnTo>
                <a:lnTo>
                  <a:pt x="247241" y="15460"/>
                </a:lnTo>
                <a:lnTo>
                  <a:pt x="247129" y="15348"/>
                </a:lnTo>
                <a:lnTo>
                  <a:pt x="246962" y="15237"/>
                </a:lnTo>
                <a:lnTo>
                  <a:pt x="246850" y="15181"/>
                </a:lnTo>
                <a:lnTo>
                  <a:pt x="246683" y="15181"/>
                </a:lnTo>
                <a:lnTo>
                  <a:pt x="246404" y="15237"/>
                </a:lnTo>
                <a:lnTo>
                  <a:pt x="246236" y="15404"/>
                </a:lnTo>
                <a:lnTo>
                  <a:pt x="246069" y="15571"/>
                </a:lnTo>
                <a:lnTo>
                  <a:pt x="246013" y="15851"/>
                </a:lnTo>
                <a:lnTo>
                  <a:pt x="246069" y="16130"/>
                </a:lnTo>
                <a:lnTo>
                  <a:pt x="230330" y="22269"/>
                </a:lnTo>
                <a:lnTo>
                  <a:pt x="230219" y="22101"/>
                </a:lnTo>
                <a:lnTo>
                  <a:pt x="230051" y="21990"/>
                </a:lnTo>
                <a:lnTo>
                  <a:pt x="229884" y="21934"/>
                </a:lnTo>
                <a:lnTo>
                  <a:pt x="229716" y="21878"/>
                </a:lnTo>
                <a:lnTo>
                  <a:pt x="229437" y="21934"/>
                </a:lnTo>
                <a:lnTo>
                  <a:pt x="229270" y="22101"/>
                </a:lnTo>
                <a:lnTo>
                  <a:pt x="229102" y="22269"/>
                </a:lnTo>
                <a:lnTo>
                  <a:pt x="229046" y="22548"/>
                </a:lnTo>
                <a:lnTo>
                  <a:pt x="229102" y="22827"/>
                </a:lnTo>
                <a:lnTo>
                  <a:pt x="212694" y="32315"/>
                </a:lnTo>
                <a:lnTo>
                  <a:pt x="212582" y="32147"/>
                </a:lnTo>
                <a:lnTo>
                  <a:pt x="212415" y="32036"/>
                </a:lnTo>
                <a:lnTo>
                  <a:pt x="212248" y="31924"/>
                </a:lnTo>
                <a:lnTo>
                  <a:pt x="212080" y="31924"/>
                </a:lnTo>
                <a:lnTo>
                  <a:pt x="211913" y="31980"/>
                </a:lnTo>
                <a:lnTo>
                  <a:pt x="211745" y="32036"/>
                </a:lnTo>
                <a:lnTo>
                  <a:pt x="211578" y="32147"/>
                </a:lnTo>
                <a:lnTo>
                  <a:pt x="211466" y="32315"/>
                </a:lnTo>
                <a:lnTo>
                  <a:pt x="195504" y="26120"/>
                </a:lnTo>
                <a:lnTo>
                  <a:pt x="195560" y="25896"/>
                </a:lnTo>
                <a:lnTo>
                  <a:pt x="195504" y="25617"/>
                </a:lnTo>
                <a:lnTo>
                  <a:pt x="195337" y="25450"/>
                </a:lnTo>
                <a:lnTo>
                  <a:pt x="195169" y="25282"/>
                </a:lnTo>
                <a:lnTo>
                  <a:pt x="194890" y="25227"/>
                </a:lnTo>
                <a:lnTo>
                  <a:pt x="194723" y="25227"/>
                </a:lnTo>
                <a:lnTo>
                  <a:pt x="194556" y="25338"/>
                </a:lnTo>
                <a:lnTo>
                  <a:pt x="178203" y="7144"/>
                </a:lnTo>
                <a:lnTo>
                  <a:pt x="178315" y="6921"/>
                </a:lnTo>
                <a:lnTo>
                  <a:pt x="178371" y="6698"/>
                </a:lnTo>
                <a:lnTo>
                  <a:pt x="178315" y="6419"/>
                </a:lnTo>
                <a:lnTo>
                  <a:pt x="178147" y="6251"/>
                </a:lnTo>
                <a:lnTo>
                  <a:pt x="177980" y="6084"/>
                </a:lnTo>
                <a:lnTo>
                  <a:pt x="177701" y="6028"/>
                </a:lnTo>
                <a:lnTo>
                  <a:pt x="177533" y="6028"/>
                </a:lnTo>
                <a:lnTo>
                  <a:pt x="177366" y="6084"/>
                </a:lnTo>
                <a:lnTo>
                  <a:pt x="177254" y="6195"/>
                </a:lnTo>
                <a:lnTo>
                  <a:pt x="177143" y="6307"/>
                </a:lnTo>
                <a:lnTo>
                  <a:pt x="160958" y="726"/>
                </a:lnTo>
                <a:lnTo>
                  <a:pt x="160958" y="670"/>
                </a:lnTo>
                <a:lnTo>
                  <a:pt x="160902" y="391"/>
                </a:lnTo>
                <a:lnTo>
                  <a:pt x="160734" y="224"/>
                </a:lnTo>
                <a:lnTo>
                  <a:pt x="160567" y="56"/>
                </a:lnTo>
                <a:lnTo>
                  <a:pt x="160288" y="0"/>
                </a:lnTo>
                <a:close/>
              </a:path>
            </a:pathLst>
          </a:custGeom>
          <a:solidFill>
            <a:srgbClr val="FFFFFF">
              <a:alpha val="3500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p:cSld name="TITLE_1">
    <p:bg>
      <p:bgPr>
        <a:solidFill>
          <a:srgbClr val="465573"/>
        </a:solidFill>
        <a:effectLst/>
      </p:bgPr>
    </p:bg>
    <p:spTree>
      <p:nvGrpSpPr>
        <p:cNvPr id="1" name="Shape 114"/>
        <p:cNvGrpSpPr/>
        <p:nvPr/>
      </p:nvGrpSpPr>
      <p:grpSpPr>
        <a:xfrm>
          <a:off x="0" y="0"/>
          <a:ext cx="0" cy="0"/>
          <a:chOff x="0" y="0"/>
          <a:chExt cx="0" cy="0"/>
        </a:xfrm>
      </p:grpSpPr>
      <p:sp>
        <p:nvSpPr>
          <p:cNvPr id="115" name="Google Shape;115;p3"/>
          <p:cNvSpPr txBox="1">
            <a:spLocks noGrp="1"/>
          </p:cNvSpPr>
          <p:nvPr>
            <p:ph type="ctrTitle"/>
          </p:nvPr>
        </p:nvSpPr>
        <p:spPr>
          <a:xfrm>
            <a:off x="448270" y="891923"/>
            <a:ext cx="7772400" cy="1546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4800"/>
              <a:buNone/>
              <a:defRPr sz="6400">
                <a:solidFill>
                  <a:schemeClr val="lt1"/>
                </a:solidFill>
              </a:defRPr>
            </a:lvl1pPr>
            <a:lvl2pPr lvl="1" rtl="0">
              <a:spcBef>
                <a:spcPts val="0"/>
              </a:spcBef>
              <a:spcAft>
                <a:spcPts val="0"/>
              </a:spcAft>
              <a:buClr>
                <a:schemeClr val="lt1"/>
              </a:buClr>
              <a:buSzPts val="4800"/>
              <a:buNone/>
              <a:defRPr sz="6400">
                <a:solidFill>
                  <a:schemeClr val="lt1"/>
                </a:solidFill>
              </a:defRPr>
            </a:lvl2pPr>
            <a:lvl3pPr lvl="2" rtl="0">
              <a:spcBef>
                <a:spcPts val="0"/>
              </a:spcBef>
              <a:spcAft>
                <a:spcPts val="0"/>
              </a:spcAft>
              <a:buClr>
                <a:schemeClr val="lt1"/>
              </a:buClr>
              <a:buSzPts val="4800"/>
              <a:buNone/>
              <a:defRPr sz="6400">
                <a:solidFill>
                  <a:schemeClr val="lt1"/>
                </a:solidFill>
              </a:defRPr>
            </a:lvl3pPr>
            <a:lvl4pPr lvl="3" rtl="0">
              <a:spcBef>
                <a:spcPts val="0"/>
              </a:spcBef>
              <a:spcAft>
                <a:spcPts val="0"/>
              </a:spcAft>
              <a:buClr>
                <a:schemeClr val="lt1"/>
              </a:buClr>
              <a:buSzPts val="4800"/>
              <a:buNone/>
              <a:defRPr sz="6400">
                <a:solidFill>
                  <a:schemeClr val="lt1"/>
                </a:solidFill>
              </a:defRPr>
            </a:lvl4pPr>
            <a:lvl5pPr lvl="4" rtl="0">
              <a:spcBef>
                <a:spcPts val="0"/>
              </a:spcBef>
              <a:spcAft>
                <a:spcPts val="0"/>
              </a:spcAft>
              <a:buClr>
                <a:schemeClr val="lt1"/>
              </a:buClr>
              <a:buSzPts val="4800"/>
              <a:buNone/>
              <a:defRPr sz="6400">
                <a:solidFill>
                  <a:schemeClr val="lt1"/>
                </a:solidFill>
              </a:defRPr>
            </a:lvl5pPr>
            <a:lvl6pPr lvl="5" rtl="0">
              <a:spcBef>
                <a:spcPts val="0"/>
              </a:spcBef>
              <a:spcAft>
                <a:spcPts val="0"/>
              </a:spcAft>
              <a:buClr>
                <a:schemeClr val="lt1"/>
              </a:buClr>
              <a:buSzPts val="4800"/>
              <a:buNone/>
              <a:defRPr sz="6400">
                <a:solidFill>
                  <a:schemeClr val="lt1"/>
                </a:solidFill>
              </a:defRPr>
            </a:lvl6pPr>
            <a:lvl7pPr lvl="6" rtl="0">
              <a:spcBef>
                <a:spcPts val="0"/>
              </a:spcBef>
              <a:spcAft>
                <a:spcPts val="0"/>
              </a:spcAft>
              <a:buClr>
                <a:schemeClr val="lt1"/>
              </a:buClr>
              <a:buSzPts val="4800"/>
              <a:buNone/>
              <a:defRPr sz="6400">
                <a:solidFill>
                  <a:schemeClr val="lt1"/>
                </a:solidFill>
              </a:defRPr>
            </a:lvl7pPr>
            <a:lvl8pPr lvl="7" rtl="0">
              <a:spcBef>
                <a:spcPts val="0"/>
              </a:spcBef>
              <a:spcAft>
                <a:spcPts val="0"/>
              </a:spcAft>
              <a:buClr>
                <a:schemeClr val="lt1"/>
              </a:buClr>
              <a:buSzPts val="4800"/>
              <a:buNone/>
              <a:defRPr sz="6400">
                <a:solidFill>
                  <a:schemeClr val="lt1"/>
                </a:solidFill>
              </a:defRPr>
            </a:lvl8pPr>
            <a:lvl9pPr lvl="8" rtl="0">
              <a:spcBef>
                <a:spcPts val="0"/>
              </a:spcBef>
              <a:spcAft>
                <a:spcPts val="0"/>
              </a:spcAft>
              <a:buClr>
                <a:schemeClr val="lt1"/>
              </a:buClr>
              <a:buSzPts val="4800"/>
              <a:buNone/>
              <a:defRPr sz="6400">
                <a:solidFill>
                  <a:schemeClr val="lt1"/>
                </a:solidFill>
              </a:defRPr>
            </a:lvl9pPr>
          </a:lstStyle>
          <a:p>
            <a:endParaRPr/>
          </a:p>
        </p:txBody>
      </p:sp>
      <p:sp>
        <p:nvSpPr>
          <p:cNvPr id="116" name="Google Shape;116;p3"/>
          <p:cNvSpPr txBox="1">
            <a:spLocks noGrp="1"/>
          </p:cNvSpPr>
          <p:nvPr>
            <p:ph type="subTitle" idx="1"/>
          </p:nvPr>
        </p:nvSpPr>
        <p:spPr>
          <a:xfrm>
            <a:off x="448270" y="2113513"/>
            <a:ext cx="7772400" cy="1046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2"/>
              </a:buClr>
              <a:buSzPts val="1800"/>
              <a:buNone/>
              <a:defRPr sz="2400">
                <a:solidFill>
                  <a:schemeClr val="accent2"/>
                </a:solidFill>
              </a:defRPr>
            </a:lvl1pPr>
            <a:lvl2pPr lvl="1" rtl="0">
              <a:spcBef>
                <a:spcPts val="0"/>
              </a:spcBef>
              <a:spcAft>
                <a:spcPts val="0"/>
              </a:spcAft>
              <a:buClr>
                <a:schemeClr val="accent2"/>
              </a:buClr>
              <a:buSzPts val="1800"/>
              <a:buNone/>
              <a:defRPr sz="2400">
                <a:solidFill>
                  <a:schemeClr val="accent2"/>
                </a:solidFill>
              </a:defRPr>
            </a:lvl2pPr>
            <a:lvl3pPr lvl="2" rtl="0">
              <a:spcBef>
                <a:spcPts val="0"/>
              </a:spcBef>
              <a:spcAft>
                <a:spcPts val="0"/>
              </a:spcAft>
              <a:buClr>
                <a:schemeClr val="accent2"/>
              </a:buClr>
              <a:buSzPts val="1800"/>
              <a:buNone/>
              <a:defRPr sz="2400">
                <a:solidFill>
                  <a:schemeClr val="accent2"/>
                </a:solidFill>
              </a:defRPr>
            </a:lvl3pPr>
            <a:lvl4pPr lvl="3" rtl="0">
              <a:spcBef>
                <a:spcPts val="0"/>
              </a:spcBef>
              <a:spcAft>
                <a:spcPts val="0"/>
              </a:spcAft>
              <a:buClr>
                <a:schemeClr val="accent2"/>
              </a:buClr>
              <a:buSzPts val="1800"/>
              <a:buNone/>
              <a:defRPr sz="2400">
                <a:solidFill>
                  <a:schemeClr val="accent2"/>
                </a:solidFill>
              </a:defRPr>
            </a:lvl4pPr>
            <a:lvl5pPr lvl="4" rtl="0">
              <a:spcBef>
                <a:spcPts val="0"/>
              </a:spcBef>
              <a:spcAft>
                <a:spcPts val="0"/>
              </a:spcAft>
              <a:buClr>
                <a:schemeClr val="accent2"/>
              </a:buClr>
              <a:buSzPts val="1800"/>
              <a:buNone/>
              <a:defRPr sz="2400">
                <a:solidFill>
                  <a:schemeClr val="accent2"/>
                </a:solidFill>
              </a:defRPr>
            </a:lvl5pPr>
            <a:lvl6pPr lvl="5" rtl="0">
              <a:spcBef>
                <a:spcPts val="0"/>
              </a:spcBef>
              <a:spcAft>
                <a:spcPts val="0"/>
              </a:spcAft>
              <a:buClr>
                <a:schemeClr val="accent2"/>
              </a:buClr>
              <a:buSzPts val="1800"/>
              <a:buNone/>
              <a:defRPr sz="2400">
                <a:solidFill>
                  <a:schemeClr val="accent2"/>
                </a:solidFill>
              </a:defRPr>
            </a:lvl6pPr>
            <a:lvl7pPr lvl="6" rtl="0">
              <a:spcBef>
                <a:spcPts val="0"/>
              </a:spcBef>
              <a:spcAft>
                <a:spcPts val="0"/>
              </a:spcAft>
              <a:buClr>
                <a:schemeClr val="accent2"/>
              </a:buClr>
              <a:buSzPts val="1800"/>
              <a:buNone/>
              <a:defRPr sz="2400">
                <a:solidFill>
                  <a:schemeClr val="accent2"/>
                </a:solidFill>
              </a:defRPr>
            </a:lvl7pPr>
            <a:lvl8pPr lvl="7" rtl="0">
              <a:spcBef>
                <a:spcPts val="0"/>
              </a:spcBef>
              <a:spcAft>
                <a:spcPts val="0"/>
              </a:spcAft>
              <a:buClr>
                <a:schemeClr val="accent2"/>
              </a:buClr>
              <a:buSzPts val="1800"/>
              <a:buNone/>
              <a:defRPr sz="2400">
                <a:solidFill>
                  <a:schemeClr val="accent2"/>
                </a:solidFill>
              </a:defRPr>
            </a:lvl8pPr>
            <a:lvl9pPr lvl="8" rtl="0">
              <a:spcBef>
                <a:spcPts val="0"/>
              </a:spcBef>
              <a:spcAft>
                <a:spcPts val="0"/>
              </a:spcAft>
              <a:buClr>
                <a:schemeClr val="accent2"/>
              </a:buClr>
              <a:buSzPts val="1800"/>
              <a:buNone/>
              <a:defRPr sz="2400">
                <a:solidFill>
                  <a:schemeClr val="accent2"/>
                </a:solidFill>
              </a:defRPr>
            </a:lvl9pPr>
          </a:lstStyle>
          <a:p>
            <a:endParaRPr/>
          </a:p>
        </p:txBody>
      </p:sp>
      <p:grpSp>
        <p:nvGrpSpPr>
          <p:cNvPr id="117" name="Google Shape;117;p3"/>
          <p:cNvGrpSpPr/>
          <p:nvPr/>
        </p:nvGrpSpPr>
        <p:grpSpPr>
          <a:xfrm>
            <a:off x="28550" y="2929019"/>
            <a:ext cx="9094048" cy="3929100"/>
            <a:chOff x="28544" y="3514688"/>
            <a:chExt cx="9094048" cy="1628800"/>
          </a:xfrm>
        </p:grpSpPr>
        <p:sp>
          <p:nvSpPr>
            <p:cNvPr id="118" name="Google Shape;118;p3"/>
            <p:cNvSpPr/>
            <p:nvPr/>
          </p:nvSpPr>
          <p:spPr>
            <a:xfrm>
              <a:off x="300032" y="4491616"/>
              <a:ext cx="228608" cy="651872"/>
            </a:xfrm>
            <a:custGeom>
              <a:avLst/>
              <a:gdLst/>
              <a:ahLst/>
              <a:cxnLst/>
              <a:rect l="l" t="t" r="r" b="b"/>
              <a:pathLst>
                <a:path w="7144" h="20371" extrusionOk="0">
                  <a:moveTo>
                    <a:pt x="0" y="0"/>
                  </a:moveTo>
                  <a:lnTo>
                    <a:pt x="0" y="20371"/>
                  </a:lnTo>
                  <a:lnTo>
                    <a:pt x="7144" y="20371"/>
                  </a:lnTo>
                  <a:lnTo>
                    <a:pt x="7144"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19" name="Google Shape;119;p3"/>
            <p:cNvSpPr/>
            <p:nvPr/>
          </p:nvSpPr>
          <p:spPr>
            <a:xfrm>
              <a:off x="28544" y="4220160"/>
              <a:ext cx="228640" cy="923328"/>
            </a:xfrm>
            <a:custGeom>
              <a:avLst/>
              <a:gdLst/>
              <a:ahLst/>
              <a:cxnLst/>
              <a:rect l="l" t="t" r="r" b="b"/>
              <a:pathLst>
                <a:path w="7145" h="28854" extrusionOk="0">
                  <a:moveTo>
                    <a:pt x="1" y="0"/>
                  </a:moveTo>
                  <a:lnTo>
                    <a:pt x="1" y="28854"/>
                  </a:lnTo>
                  <a:lnTo>
                    <a:pt x="7145" y="28854"/>
                  </a:lnTo>
                  <a:lnTo>
                    <a:pt x="7145"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0" name="Google Shape;120;p3"/>
            <p:cNvSpPr/>
            <p:nvPr/>
          </p:nvSpPr>
          <p:spPr>
            <a:xfrm>
              <a:off x="576832" y="3939744"/>
              <a:ext cx="230432" cy="1203744"/>
            </a:xfrm>
            <a:custGeom>
              <a:avLst/>
              <a:gdLst/>
              <a:ahLst/>
              <a:cxnLst/>
              <a:rect l="l" t="t" r="r" b="b"/>
              <a:pathLst>
                <a:path w="7201" h="37617" extrusionOk="0">
                  <a:moveTo>
                    <a:pt x="1" y="1"/>
                  </a:moveTo>
                  <a:lnTo>
                    <a:pt x="1" y="37617"/>
                  </a:lnTo>
                  <a:lnTo>
                    <a:pt x="7200" y="37617"/>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1" name="Google Shape;121;p3"/>
            <p:cNvSpPr/>
            <p:nvPr/>
          </p:nvSpPr>
          <p:spPr>
            <a:xfrm>
              <a:off x="853664" y="4120128"/>
              <a:ext cx="230400" cy="1023360"/>
            </a:xfrm>
            <a:custGeom>
              <a:avLst/>
              <a:gdLst/>
              <a:ahLst/>
              <a:cxnLst/>
              <a:rect l="l" t="t" r="r" b="b"/>
              <a:pathLst>
                <a:path w="7200" h="31980" extrusionOk="0">
                  <a:moveTo>
                    <a:pt x="0" y="1"/>
                  </a:moveTo>
                  <a:lnTo>
                    <a:pt x="0" y="31980"/>
                  </a:lnTo>
                  <a:lnTo>
                    <a:pt x="7200" y="31980"/>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2" name="Google Shape;122;p3"/>
            <p:cNvSpPr/>
            <p:nvPr/>
          </p:nvSpPr>
          <p:spPr>
            <a:xfrm>
              <a:off x="1130496" y="4627328"/>
              <a:ext cx="230400" cy="516160"/>
            </a:xfrm>
            <a:custGeom>
              <a:avLst/>
              <a:gdLst/>
              <a:ahLst/>
              <a:cxnLst/>
              <a:rect l="l" t="t" r="r" b="b"/>
              <a:pathLst>
                <a:path w="7200" h="16130" extrusionOk="0">
                  <a:moveTo>
                    <a:pt x="0" y="1"/>
                  </a:moveTo>
                  <a:lnTo>
                    <a:pt x="0" y="16130"/>
                  </a:lnTo>
                  <a:lnTo>
                    <a:pt x="7200" y="16130"/>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3" name="Google Shape;123;p3"/>
            <p:cNvSpPr/>
            <p:nvPr/>
          </p:nvSpPr>
          <p:spPr>
            <a:xfrm>
              <a:off x="1409088" y="3821888"/>
              <a:ext cx="228640" cy="1321600"/>
            </a:xfrm>
            <a:custGeom>
              <a:avLst/>
              <a:gdLst/>
              <a:ahLst/>
              <a:cxnLst/>
              <a:rect l="l" t="t" r="r" b="b"/>
              <a:pathLst>
                <a:path w="7145" h="41300" extrusionOk="0">
                  <a:moveTo>
                    <a:pt x="1" y="0"/>
                  </a:moveTo>
                  <a:lnTo>
                    <a:pt x="1" y="41300"/>
                  </a:lnTo>
                  <a:lnTo>
                    <a:pt x="7144" y="41300"/>
                  </a:lnTo>
                  <a:lnTo>
                    <a:pt x="7144"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4" name="Google Shape;124;p3"/>
            <p:cNvSpPr/>
            <p:nvPr/>
          </p:nvSpPr>
          <p:spPr>
            <a:xfrm>
              <a:off x="1685920" y="4175488"/>
              <a:ext cx="230400" cy="968000"/>
            </a:xfrm>
            <a:custGeom>
              <a:avLst/>
              <a:gdLst/>
              <a:ahLst/>
              <a:cxnLst/>
              <a:rect l="l" t="t" r="r" b="b"/>
              <a:pathLst>
                <a:path w="7200" h="30250" extrusionOk="0">
                  <a:moveTo>
                    <a:pt x="0" y="1"/>
                  </a:moveTo>
                  <a:lnTo>
                    <a:pt x="0" y="30250"/>
                  </a:lnTo>
                  <a:lnTo>
                    <a:pt x="7200" y="30250"/>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5" name="Google Shape;125;p3"/>
            <p:cNvSpPr/>
            <p:nvPr/>
          </p:nvSpPr>
          <p:spPr>
            <a:xfrm>
              <a:off x="1962720" y="3939744"/>
              <a:ext cx="230432" cy="1203744"/>
            </a:xfrm>
            <a:custGeom>
              <a:avLst/>
              <a:gdLst/>
              <a:ahLst/>
              <a:cxnLst/>
              <a:rect l="l" t="t" r="r" b="b"/>
              <a:pathLst>
                <a:path w="7201" h="37617" extrusionOk="0">
                  <a:moveTo>
                    <a:pt x="1" y="1"/>
                  </a:moveTo>
                  <a:lnTo>
                    <a:pt x="1" y="37617"/>
                  </a:lnTo>
                  <a:lnTo>
                    <a:pt x="7200" y="37617"/>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6" name="Google Shape;126;p3"/>
            <p:cNvSpPr/>
            <p:nvPr/>
          </p:nvSpPr>
          <p:spPr>
            <a:xfrm>
              <a:off x="2239552" y="4355872"/>
              <a:ext cx="230400" cy="787616"/>
            </a:xfrm>
            <a:custGeom>
              <a:avLst/>
              <a:gdLst/>
              <a:ahLst/>
              <a:cxnLst/>
              <a:rect l="l" t="t" r="r" b="b"/>
              <a:pathLst>
                <a:path w="7200" h="24613" extrusionOk="0">
                  <a:moveTo>
                    <a:pt x="0" y="1"/>
                  </a:moveTo>
                  <a:lnTo>
                    <a:pt x="0" y="24613"/>
                  </a:lnTo>
                  <a:lnTo>
                    <a:pt x="7200" y="24613"/>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7" name="Google Shape;127;p3"/>
            <p:cNvSpPr/>
            <p:nvPr/>
          </p:nvSpPr>
          <p:spPr>
            <a:xfrm>
              <a:off x="2516384" y="3821888"/>
              <a:ext cx="230400" cy="1321600"/>
            </a:xfrm>
            <a:custGeom>
              <a:avLst/>
              <a:gdLst/>
              <a:ahLst/>
              <a:cxnLst/>
              <a:rect l="l" t="t" r="r" b="b"/>
              <a:pathLst>
                <a:path w="7200" h="41300" extrusionOk="0">
                  <a:moveTo>
                    <a:pt x="0" y="0"/>
                  </a:moveTo>
                  <a:lnTo>
                    <a:pt x="0" y="41300"/>
                  </a:lnTo>
                  <a:lnTo>
                    <a:pt x="7200" y="41300"/>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8" name="Google Shape;128;p3"/>
            <p:cNvSpPr/>
            <p:nvPr/>
          </p:nvSpPr>
          <p:spPr>
            <a:xfrm>
              <a:off x="2794976" y="4175488"/>
              <a:ext cx="228640" cy="968000"/>
            </a:xfrm>
            <a:custGeom>
              <a:avLst/>
              <a:gdLst/>
              <a:ahLst/>
              <a:cxnLst/>
              <a:rect l="l" t="t" r="r" b="b"/>
              <a:pathLst>
                <a:path w="7145" h="30250" extrusionOk="0">
                  <a:moveTo>
                    <a:pt x="1" y="1"/>
                  </a:moveTo>
                  <a:lnTo>
                    <a:pt x="1" y="30250"/>
                  </a:lnTo>
                  <a:lnTo>
                    <a:pt x="7144" y="30250"/>
                  </a:lnTo>
                  <a:lnTo>
                    <a:pt x="7144"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29" name="Google Shape;129;p3"/>
            <p:cNvSpPr/>
            <p:nvPr/>
          </p:nvSpPr>
          <p:spPr>
            <a:xfrm>
              <a:off x="3071808" y="3659360"/>
              <a:ext cx="230400" cy="1484128"/>
            </a:xfrm>
            <a:custGeom>
              <a:avLst/>
              <a:gdLst/>
              <a:ahLst/>
              <a:cxnLst/>
              <a:rect l="l" t="t" r="r" b="b"/>
              <a:pathLst>
                <a:path w="7200" h="46379" extrusionOk="0">
                  <a:moveTo>
                    <a:pt x="0" y="1"/>
                  </a:moveTo>
                  <a:lnTo>
                    <a:pt x="0" y="46379"/>
                  </a:lnTo>
                  <a:lnTo>
                    <a:pt x="7200" y="46379"/>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0" name="Google Shape;130;p3"/>
            <p:cNvSpPr/>
            <p:nvPr/>
          </p:nvSpPr>
          <p:spPr>
            <a:xfrm>
              <a:off x="3348608" y="3821888"/>
              <a:ext cx="230432" cy="1321600"/>
            </a:xfrm>
            <a:custGeom>
              <a:avLst/>
              <a:gdLst/>
              <a:ahLst/>
              <a:cxnLst/>
              <a:rect l="l" t="t" r="r" b="b"/>
              <a:pathLst>
                <a:path w="7201" h="41300" extrusionOk="0">
                  <a:moveTo>
                    <a:pt x="1" y="0"/>
                  </a:moveTo>
                  <a:lnTo>
                    <a:pt x="1" y="41300"/>
                  </a:lnTo>
                  <a:lnTo>
                    <a:pt x="7200" y="41300"/>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1" name="Google Shape;131;p3"/>
            <p:cNvSpPr/>
            <p:nvPr/>
          </p:nvSpPr>
          <p:spPr>
            <a:xfrm>
              <a:off x="3625440" y="4220160"/>
              <a:ext cx="230400" cy="923328"/>
            </a:xfrm>
            <a:custGeom>
              <a:avLst/>
              <a:gdLst/>
              <a:ahLst/>
              <a:cxnLst/>
              <a:rect l="l" t="t" r="r" b="b"/>
              <a:pathLst>
                <a:path w="7200" h="28854" extrusionOk="0">
                  <a:moveTo>
                    <a:pt x="0" y="0"/>
                  </a:moveTo>
                  <a:lnTo>
                    <a:pt x="0" y="28854"/>
                  </a:lnTo>
                  <a:lnTo>
                    <a:pt x="7200" y="28854"/>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2" name="Google Shape;132;p3"/>
            <p:cNvSpPr/>
            <p:nvPr/>
          </p:nvSpPr>
          <p:spPr>
            <a:xfrm>
              <a:off x="3904032" y="4491616"/>
              <a:ext cx="228640" cy="651872"/>
            </a:xfrm>
            <a:custGeom>
              <a:avLst/>
              <a:gdLst/>
              <a:ahLst/>
              <a:cxnLst/>
              <a:rect l="l" t="t" r="r" b="b"/>
              <a:pathLst>
                <a:path w="7145" h="20371" extrusionOk="0">
                  <a:moveTo>
                    <a:pt x="1" y="0"/>
                  </a:moveTo>
                  <a:lnTo>
                    <a:pt x="1" y="20371"/>
                  </a:lnTo>
                  <a:lnTo>
                    <a:pt x="7145" y="20371"/>
                  </a:lnTo>
                  <a:lnTo>
                    <a:pt x="7145"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3" name="Google Shape;133;p3"/>
            <p:cNvSpPr/>
            <p:nvPr/>
          </p:nvSpPr>
          <p:spPr>
            <a:xfrm>
              <a:off x="4180864" y="4284448"/>
              <a:ext cx="230432" cy="859040"/>
            </a:xfrm>
            <a:custGeom>
              <a:avLst/>
              <a:gdLst/>
              <a:ahLst/>
              <a:cxnLst/>
              <a:rect l="l" t="t" r="r" b="b"/>
              <a:pathLst>
                <a:path w="7201" h="26845" extrusionOk="0">
                  <a:moveTo>
                    <a:pt x="0" y="0"/>
                  </a:moveTo>
                  <a:lnTo>
                    <a:pt x="0" y="26845"/>
                  </a:lnTo>
                  <a:lnTo>
                    <a:pt x="7200" y="26845"/>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4" name="Google Shape;134;p3"/>
            <p:cNvSpPr/>
            <p:nvPr/>
          </p:nvSpPr>
          <p:spPr>
            <a:xfrm>
              <a:off x="4457696" y="4004032"/>
              <a:ext cx="230400" cy="1139456"/>
            </a:xfrm>
            <a:custGeom>
              <a:avLst/>
              <a:gdLst/>
              <a:ahLst/>
              <a:cxnLst/>
              <a:rect l="l" t="t" r="r" b="b"/>
              <a:pathLst>
                <a:path w="7200" h="35608" extrusionOk="0">
                  <a:moveTo>
                    <a:pt x="0" y="1"/>
                  </a:moveTo>
                  <a:lnTo>
                    <a:pt x="0" y="35608"/>
                  </a:lnTo>
                  <a:lnTo>
                    <a:pt x="7200" y="35608"/>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5" name="Google Shape;135;p3"/>
            <p:cNvSpPr/>
            <p:nvPr/>
          </p:nvSpPr>
          <p:spPr>
            <a:xfrm>
              <a:off x="4734496" y="3821888"/>
              <a:ext cx="230432" cy="1321600"/>
            </a:xfrm>
            <a:custGeom>
              <a:avLst/>
              <a:gdLst/>
              <a:ahLst/>
              <a:cxnLst/>
              <a:rect l="l" t="t" r="r" b="b"/>
              <a:pathLst>
                <a:path w="7201" h="41300" extrusionOk="0">
                  <a:moveTo>
                    <a:pt x="1" y="0"/>
                  </a:moveTo>
                  <a:lnTo>
                    <a:pt x="1" y="41300"/>
                  </a:lnTo>
                  <a:lnTo>
                    <a:pt x="7200" y="41300"/>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6" name="Google Shape;136;p3"/>
            <p:cNvSpPr/>
            <p:nvPr/>
          </p:nvSpPr>
          <p:spPr>
            <a:xfrm>
              <a:off x="5011328" y="3514688"/>
              <a:ext cx="230400" cy="1628800"/>
            </a:xfrm>
            <a:custGeom>
              <a:avLst/>
              <a:gdLst/>
              <a:ahLst/>
              <a:cxnLst/>
              <a:rect l="l" t="t" r="r" b="b"/>
              <a:pathLst>
                <a:path w="7200" h="50900" extrusionOk="0">
                  <a:moveTo>
                    <a:pt x="0" y="1"/>
                  </a:moveTo>
                  <a:lnTo>
                    <a:pt x="0" y="50900"/>
                  </a:lnTo>
                  <a:lnTo>
                    <a:pt x="7200" y="50900"/>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7" name="Google Shape;137;p3"/>
            <p:cNvSpPr/>
            <p:nvPr/>
          </p:nvSpPr>
          <p:spPr>
            <a:xfrm>
              <a:off x="5289920" y="3939744"/>
              <a:ext cx="228640" cy="1203744"/>
            </a:xfrm>
            <a:custGeom>
              <a:avLst/>
              <a:gdLst/>
              <a:ahLst/>
              <a:cxnLst/>
              <a:rect l="l" t="t" r="r" b="b"/>
              <a:pathLst>
                <a:path w="7145" h="37617" extrusionOk="0">
                  <a:moveTo>
                    <a:pt x="1" y="1"/>
                  </a:moveTo>
                  <a:lnTo>
                    <a:pt x="1" y="37617"/>
                  </a:lnTo>
                  <a:lnTo>
                    <a:pt x="7145" y="37617"/>
                  </a:lnTo>
                  <a:lnTo>
                    <a:pt x="7145"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8" name="Google Shape;138;p3"/>
            <p:cNvSpPr/>
            <p:nvPr/>
          </p:nvSpPr>
          <p:spPr>
            <a:xfrm>
              <a:off x="5566752" y="3704000"/>
              <a:ext cx="230432" cy="1439488"/>
            </a:xfrm>
            <a:custGeom>
              <a:avLst/>
              <a:gdLst/>
              <a:ahLst/>
              <a:cxnLst/>
              <a:rect l="l" t="t" r="r" b="b"/>
              <a:pathLst>
                <a:path w="7201" h="44984" extrusionOk="0">
                  <a:moveTo>
                    <a:pt x="0" y="1"/>
                  </a:moveTo>
                  <a:lnTo>
                    <a:pt x="0" y="44984"/>
                  </a:lnTo>
                  <a:lnTo>
                    <a:pt x="7200" y="44984"/>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39" name="Google Shape;139;p3"/>
            <p:cNvSpPr/>
            <p:nvPr/>
          </p:nvSpPr>
          <p:spPr>
            <a:xfrm>
              <a:off x="5843584" y="3821888"/>
              <a:ext cx="230400" cy="1321600"/>
            </a:xfrm>
            <a:custGeom>
              <a:avLst/>
              <a:gdLst/>
              <a:ahLst/>
              <a:cxnLst/>
              <a:rect l="l" t="t" r="r" b="b"/>
              <a:pathLst>
                <a:path w="7200" h="41300" extrusionOk="0">
                  <a:moveTo>
                    <a:pt x="0" y="0"/>
                  </a:moveTo>
                  <a:lnTo>
                    <a:pt x="0" y="41300"/>
                  </a:lnTo>
                  <a:lnTo>
                    <a:pt x="7200" y="41300"/>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0" name="Google Shape;140;p3"/>
            <p:cNvSpPr/>
            <p:nvPr/>
          </p:nvSpPr>
          <p:spPr>
            <a:xfrm>
              <a:off x="6120384" y="4329088"/>
              <a:ext cx="230432" cy="814400"/>
            </a:xfrm>
            <a:custGeom>
              <a:avLst/>
              <a:gdLst/>
              <a:ahLst/>
              <a:cxnLst/>
              <a:rect l="l" t="t" r="r" b="b"/>
              <a:pathLst>
                <a:path w="7201" h="25450" extrusionOk="0">
                  <a:moveTo>
                    <a:pt x="1" y="0"/>
                  </a:moveTo>
                  <a:lnTo>
                    <a:pt x="1" y="25450"/>
                  </a:lnTo>
                  <a:lnTo>
                    <a:pt x="7200" y="25450"/>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1" name="Google Shape;141;p3"/>
            <p:cNvSpPr/>
            <p:nvPr/>
          </p:nvSpPr>
          <p:spPr>
            <a:xfrm>
              <a:off x="6399008" y="4120128"/>
              <a:ext cx="228608" cy="1023360"/>
            </a:xfrm>
            <a:custGeom>
              <a:avLst/>
              <a:gdLst/>
              <a:ahLst/>
              <a:cxnLst/>
              <a:rect l="l" t="t" r="r" b="b"/>
              <a:pathLst>
                <a:path w="7144" h="31980" extrusionOk="0">
                  <a:moveTo>
                    <a:pt x="0" y="1"/>
                  </a:moveTo>
                  <a:lnTo>
                    <a:pt x="0" y="31980"/>
                  </a:lnTo>
                  <a:lnTo>
                    <a:pt x="7144" y="31980"/>
                  </a:lnTo>
                  <a:lnTo>
                    <a:pt x="7144"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2" name="Google Shape;142;p3"/>
            <p:cNvSpPr/>
            <p:nvPr/>
          </p:nvSpPr>
          <p:spPr>
            <a:xfrm>
              <a:off x="6675808" y="4538048"/>
              <a:ext cx="230432" cy="605440"/>
            </a:xfrm>
            <a:custGeom>
              <a:avLst/>
              <a:gdLst/>
              <a:ahLst/>
              <a:cxnLst/>
              <a:rect l="l" t="t" r="r" b="b"/>
              <a:pathLst>
                <a:path w="7201" h="18920" extrusionOk="0">
                  <a:moveTo>
                    <a:pt x="1" y="0"/>
                  </a:moveTo>
                  <a:lnTo>
                    <a:pt x="1" y="18920"/>
                  </a:lnTo>
                  <a:lnTo>
                    <a:pt x="7200" y="18920"/>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3" name="Google Shape;143;p3"/>
            <p:cNvSpPr/>
            <p:nvPr/>
          </p:nvSpPr>
          <p:spPr>
            <a:xfrm>
              <a:off x="6952640" y="3939744"/>
              <a:ext cx="230432" cy="1203744"/>
            </a:xfrm>
            <a:custGeom>
              <a:avLst/>
              <a:gdLst/>
              <a:ahLst/>
              <a:cxnLst/>
              <a:rect l="l" t="t" r="r" b="b"/>
              <a:pathLst>
                <a:path w="7201" h="37617" extrusionOk="0">
                  <a:moveTo>
                    <a:pt x="0" y="1"/>
                  </a:moveTo>
                  <a:lnTo>
                    <a:pt x="0" y="37617"/>
                  </a:lnTo>
                  <a:lnTo>
                    <a:pt x="7200" y="37617"/>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4" name="Google Shape;144;p3"/>
            <p:cNvSpPr/>
            <p:nvPr/>
          </p:nvSpPr>
          <p:spPr>
            <a:xfrm>
              <a:off x="7229472" y="4220160"/>
              <a:ext cx="230400" cy="923328"/>
            </a:xfrm>
            <a:custGeom>
              <a:avLst/>
              <a:gdLst/>
              <a:ahLst/>
              <a:cxnLst/>
              <a:rect l="l" t="t" r="r" b="b"/>
              <a:pathLst>
                <a:path w="7200" h="28854" extrusionOk="0">
                  <a:moveTo>
                    <a:pt x="0" y="0"/>
                  </a:moveTo>
                  <a:lnTo>
                    <a:pt x="0" y="28854"/>
                  </a:lnTo>
                  <a:lnTo>
                    <a:pt x="7200" y="28854"/>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5" name="Google Shape;145;p3"/>
            <p:cNvSpPr/>
            <p:nvPr/>
          </p:nvSpPr>
          <p:spPr>
            <a:xfrm>
              <a:off x="7506272" y="3768288"/>
              <a:ext cx="230432" cy="1375200"/>
            </a:xfrm>
            <a:custGeom>
              <a:avLst/>
              <a:gdLst/>
              <a:ahLst/>
              <a:cxnLst/>
              <a:rect l="l" t="t" r="r" b="b"/>
              <a:pathLst>
                <a:path w="7201" h="42975" extrusionOk="0">
                  <a:moveTo>
                    <a:pt x="1" y="1"/>
                  </a:moveTo>
                  <a:lnTo>
                    <a:pt x="1" y="42975"/>
                  </a:lnTo>
                  <a:lnTo>
                    <a:pt x="7200" y="42975"/>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6" name="Google Shape;146;p3"/>
            <p:cNvSpPr/>
            <p:nvPr/>
          </p:nvSpPr>
          <p:spPr>
            <a:xfrm>
              <a:off x="7784896" y="4004032"/>
              <a:ext cx="228608" cy="1139456"/>
            </a:xfrm>
            <a:custGeom>
              <a:avLst/>
              <a:gdLst/>
              <a:ahLst/>
              <a:cxnLst/>
              <a:rect l="l" t="t" r="r" b="b"/>
              <a:pathLst>
                <a:path w="7144" h="35608" extrusionOk="0">
                  <a:moveTo>
                    <a:pt x="0" y="1"/>
                  </a:moveTo>
                  <a:lnTo>
                    <a:pt x="0" y="35608"/>
                  </a:lnTo>
                  <a:lnTo>
                    <a:pt x="7144" y="35608"/>
                  </a:lnTo>
                  <a:lnTo>
                    <a:pt x="7144"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7" name="Google Shape;147;p3"/>
            <p:cNvSpPr/>
            <p:nvPr/>
          </p:nvSpPr>
          <p:spPr>
            <a:xfrm>
              <a:off x="8061696" y="3596864"/>
              <a:ext cx="230432" cy="1546624"/>
            </a:xfrm>
            <a:custGeom>
              <a:avLst/>
              <a:gdLst/>
              <a:ahLst/>
              <a:cxnLst/>
              <a:rect l="l" t="t" r="r" b="b"/>
              <a:pathLst>
                <a:path w="7201" h="48332" extrusionOk="0">
                  <a:moveTo>
                    <a:pt x="1" y="0"/>
                  </a:moveTo>
                  <a:lnTo>
                    <a:pt x="1" y="48332"/>
                  </a:lnTo>
                  <a:lnTo>
                    <a:pt x="7200" y="48332"/>
                  </a:lnTo>
                  <a:lnTo>
                    <a:pt x="7200"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8" name="Google Shape;148;p3"/>
            <p:cNvSpPr/>
            <p:nvPr/>
          </p:nvSpPr>
          <p:spPr>
            <a:xfrm>
              <a:off x="8338528" y="3514688"/>
              <a:ext cx="230400" cy="1628800"/>
            </a:xfrm>
            <a:custGeom>
              <a:avLst/>
              <a:gdLst/>
              <a:ahLst/>
              <a:cxnLst/>
              <a:rect l="l" t="t" r="r" b="b"/>
              <a:pathLst>
                <a:path w="7200" h="50900" extrusionOk="0">
                  <a:moveTo>
                    <a:pt x="0" y="1"/>
                  </a:moveTo>
                  <a:lnTo>
                    <a:pt x="0" y="50900"/>
                  </a:lnTo>
                  <a:lnTo>
                    <a:pt x="7200" y="50900"/>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49" name="Google Shape;149;p3"/>
            <p:cNvSpPr/>
            <p:nvPr/>
          </p:nvSpPr>
          <p:spPr>
            <a:xfrm>
              <a:off x="8615360" y="3939744"/>
              <a:ext cx="230400" cy="1203744"/>
            </a:xfrm>
            <a:custGeom>
              <a:avLst/>
              <a:gdLst/>
              <a:ahLst/>
              <a:cxnLst/>
              <a:rect l="l" t="t" r="r" b="b"/>
              <a:pathLst>
                <a:path w="7200" h="37617" extrusionOk="0">
                  <a:moveTo>
                    <a:pt x="0" y="1"/>
                  </a:moveTo>
                  <a:lnTo>
                    <a:pt x="0" y="37617"/>
                  </a:lnTo>
                  <a:lnTo>
                    <a:pt x="7200" y="37617"/>
                  </a:lnTo>
                  <a:lnTo>
                    <a:pt x="7200"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0" name="Google Shape;150;p3"/>
            <p:cNvSpPr/>
            <p:nvPr/>
          </p:nvSpPr>
          <p:spPr>
            <a:xfrm>
              <a:off x="8893952" y="3596864"/>
              <a:ext cx="228640" cy="1546624"/>
            </a:xfrm>
            <a:custGeom>
              <a:avLst/>
              <a:gdLst/>
              <a:ahLst/>
              <a:cxnLst/>
              <a:rect l="l" t="t" r="r" b="b"/>
              <a:pathLst>
                <a:path w="7145" h="48332" extrusionOk="0">
                  <a:moveTo>
                    <a:pt x="1" y="0"/>
                  </a:moveTo>
                  <a:lnTo>
                    <a:pt x="1" y="48332"/>
                  </a:lnTo>
                  <a:lnTo>
                    <a:pt x="7144" y="48332"/>
                  </a:lnTo>
                  <a:lnTo>
                    <a:pt x="7144"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grpSp>
        <p:nvGrpSpPr>
          <p:cNvPr id="151" name="Google Shape;151;p3"/>
          <p:cNvGrpSpPr/>
          <p:nvPr/>
        </p:nvGrpSpPr>
        <p:grpSpPr>
          <a:xfrm>
            <a:off x="28550" y="4479971"/>
            <a:ext cx="9094048" cy="2378148"/>
            <a:chOff x="28544" y="4157632"/>
            <a:chExt cx="9094048" cy="985856"/>
          </a:xfrm>
        </p:grpSpPr>
        <p:sp>
          <p:nvSpPr>
            <p:cNvPr id="152" name="Google Shape;152;p3"/>
            <p:cNvSpPr/>
            <p:nvPr/>
          </p:nvSpPr>
          <p:spPr>
            <a:xfrm>
              <a:off x="435744" y="4782720"/>
              <a:ext cx="92896" cy="360768"/>
            </a:xfrm>
            <a:custGeom>
              <a:avLst/>
              <a:gdLst/>
              <a:ahLst/>
              <a:cxnLst/>
              <a:rect l="l" t="t" r="r" b="b"/>
              <a:pathLst>
                <a:path w="2903" h="11274" extrusionOk="0">
                  <a:moveTo>
                    <a:pt x="1" y="0"/>
                  </a:moveTo>
                  <a:lnTo>
                    <a:pt x="1" y="11274"/>
                  </a:lnTo>
                  <a:lnTo>
                    <a:pt x="2903" y="11274"/>
                  </a:lnTo>
                  <a:lnTo>
                    <a:pt x="2903"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3" name="Google Shape;153;p3"/>
            <p:cNvSpPr/>
            <p:nvPr/>
          </p:nvSpPr>
          <p:spPr>
            <a:xfrm>
              <a:off x="300032" y="4638048"/>
              <a:ext cx="92896" cy="505440"/>
            </a:xfrm>
            <a:custGeom>
              <a:avLst/>
              <a:gdLst/>
              <a:ahLst/>
              <a:cxnLst/>
              <a:rect l="l" t="t" r="r" b="b"/>
              <a:pathLst>
                <a:path w="2903" h="15795" extrusionOk="0">
                  <a:moveTo>
                    <a:pt x="0" y="1"/>
                  </a:moveTo>
                  <a:lnTo>
                    <a:pt x="0" y="15795"/>
                  </a:lnTo>
                  <a:lnTo>
                    <a:pt x="2902" y="15795"/>
                  </a:lnTo>
                  <a:lnTo>
                    <a:pt x="2902"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4" name="Google Shape;154;p3"/>
            <p:cNvSpPr/>
            <p:nvPr/>
          </p:nvSpPr>
          <p:spPr>
            <a:xfrm>
              <a:off x="164288" y="4571968"/>
              <a:ext cx="92896" cy="571520"/>
            </a:xfrm>
            <a:custGeom>
              <a:avLst/>
              <a:gdLst/>
              <a:ahLst/>
              <a:cxnLst/>
              <a:rect l="l" t="t" r="r" b="b"/>
              <a:pathLst>
                <a:path w="2903" h="17860" extrusionOk="0">
                  <a:moveTo>
                    <a:pt x="1" y="1"/>
                  </a:moveTo>
                  <a:lnTo>
                    <a:pt x="1" y="17860"/>
                  </a:lnTo>
                  <a:lnTo>
                    <a:pt x="2903" y="17860"/>
                  </a:lnTo>
                  <a:lnTo>
                    <a:pt x="2903"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5" name="Google Shape;155;p3"/>
            <p:cNvSpPr/>
            <p:nvPr/>
          </p:nvSpPr>
          <p:spPr>
            <a:xfrm>
              <a:off x="28544" y="4739840"/>
              <a:ext cx="92928" cy="403648"/>
            </a:xfrm>
            <a:custGeom>
              <a:avLst/>
              <a:gdLst/>
              <a:ahLst/>
              <a:cxnLst/>
              <a:rect l="l" t="t" r="r" b="b"/>
              <a:pathLst>
                <a:path w="2904" h="12614" extrusionOk="0">
                  <a:moveTo>
                    <a:pt x="1" y="1"/>
                  </a:moveTo>
                  <a:lnTo>
                    <a:pt x="1" y="12614"/>
                  </a:lnTo>
                  <a:lnTo>
                    <a:pt x="2903" y="12614"/>
                  </a:lnTo>
                  <a:lnTo>
                    <a:pt x="2903"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6" name="Google Shape;156;p3"/>
            <p:cNvSpPr/>
            <p:nvPr/>
          </p:nvSpPr>
          <p:spPr>
            <a:xfrm>
              <a:off x="712576"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7" name="Google Shape;157;p3"/>
            <p:cNvSpPr/>
            <p:nvPr/>
          </p:nvSpPr>
          <p:spPr>
            <a:xfrm>
              <a:off x="576832" y="4752352"/>
              <a:ext cx="94688" cy="391136"/>
            </a:xfrm>
            <a:custGeom>
              <a:avLst/>
              <a:gdLst/>
              <a:ahLst/>
              <a:cxnLst/>
              <a:rect l="l" t="t" r="r" b="b"/>
              <a:pathLst>
                <a:path w="2959" h="12223" extrusionOk="0">
                  <a:moveTo>
                    <a:pt x="1" y="1"/>
                  </a:moveTo>
                  <a:lnTo>
                    <a:pt x="1" y="12223"/>
                  </a:lnTo>
                  <a:lnTo>
                    <a:pt x="2959" y="12223"/>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8" name="Google Shape;158;p3"/>
            <p:cNvSpPr/>
            <p:nvPr/>
          </p:nvSpPr>
          <p:spPr>
            <a:xfrm>
              <a:off x="989408" y="4386240"/>
              <a:ext cx="94656" cy="757248"/>
            </a:xfrm>
            <a:custGeom>
              <a:avLst/>
              <a:gdLst/>
              <a:ahLst/>
              <a:cxnLst/>
              <a:rect l="l" t="t" r="r" b="b"/>
              <a:pathLst>
                <a:path w="2958" h="23664" extrusionOk="0">
                  <a:moveTo>
                    <a:pt x="0" y="0"/>
                  </a:moveTo>
                  <a:lnTo>
                    <a:pt x="0" y="23664"/>
                  </a:lnTo>
                  <a:lnTo>
                    <a:pt x="2958" y="23664"/>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9" name="Google Shape;159;p3"/>
            <p:cNvSpPr/>
            <p:nvPr/>
          </p:nvSpPr>
          <p:spPr>
            <a:xfrm>
              <a:off x="853664" y="4500544"/>
              <a:ext cx="94688" cy="642944"/>
            </a:xfrm>
            <a:custGeom>
              <a:avLst/>
              <a:gdLst/>
              <a:ahLst/>
              <a:cxnLst/>
              <a:rect l="l" t="t" r="r" b="b"/>
              <a:pathLst>
                <a:path w="2959" h="20092" extrusionOk="0">
                  <a:moveTo>
                    <a:pt x="0" y="0"/>
                  </a:moveTo>
                  <a:lnTo>
                    <a:pt x="0" y="20092"/>
                  </a:lnTo>
                  <a:lnTo>
                    <a:pt x="2958" y="20092"/>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0" name="Google Shape;160;p3"/>
            <p:cNvSpPr/>
            <p:nvPr/>
          </p:nvSpPr>
          <p:spPr>
            <a:xfrm>
              <a:off x="1266208" y="4721984"/>
              <a:ext cx="94688" cy="421504"/>
            </a:xfrm>
            <a:custGeom>
              <a:avLst/>
              <a:gdLst/>
              <a:ahLst/>
              <a:cxnLst/>
              <a:rect l="l" t="t" r="r" b="b"/>
              <a:pathLst>
                <a:path w="2959" h="13172" extrusionOk="0">
                  <a:moveTo>
                    <a:pt x="1" y="1"/>
                  </a:moveTo>
                  <a:lnTo>
                    <a:pt x="1" y="13172"/>
                  </a:lnTo>
                  <a:lnTo>
                    <a:pt x="2959" y="13172"/>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1" name="Google Shape;161;p3"/>
            <p:cNvSpPr/>
            <p:nvPr/>
          </p:nvSpPr>
          <p:spPr>
            <a:xfrm>
              <a:off x="1130496" y="4518400"/>
              <a:ext cx="94688" cy="625088"/>
            </a:xfrm>
            <a:custGeom>
              <a:avLst/>
              <a:gdLst/>
              <a:ahLst/>
              <a:cxnLst/>
              <a:rect l="l" t="t" r="r" b="b"/>
              <a:pathLst>
                <a:path w="2959" h="19534" extrusionOk="0">
                  <a:moveTo>
                    <a:pt x="0" y="0"/>
                  </a:moveTo>
                  <a:lnTo>
                    <a:pt x="0" y="19534"/>
                  </a:lnTo>
                  <a:lnTo>
                    <a:pt x="2958" y="19534"/>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2" name="Google Shape;162;p3"/>
            <p:cNvSpPr/>
            <p:nvPr/>
          </p:nvSpPr>
          <p:spPr>
            <a:xfrm>
              <a:off x="1543040"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3" name="Google Shape;163;p3"/>
            <p:cNvSpPr/>
            <p:nvPr/>
          </p:nvSpPr>
          <p:spPr>
            <a:xfrm>
              <a:off x="1407296" y="4721984"/>
              <a:ext cx="94688" cy="421504"/>
            </a:xfrm>
            <a:custGeom>
              <a:avLst/>
              <a:gdLst/>
              <a:ahLst/>
              <a:cxnLst/>
              <a:rect l="l" t="t" r="r" b="b"/>
              <a:pathLst>
                <a:path w="2959" h="13172" extrusionOk="0">
                  <a:moveTo>
                    <a:pt x="1" y="1"/>
                  </a:moveTo>
                  <a:lnTo>
                    <a:pt x="1" y="13172"/>
                  </a:lnTo>
                  <a:lnTo>
                    <a:pt x="2959" y="13172"/>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4" name="Google Shape;164;p3"/>
            <p:cNvSpPr/>
            <p:nvPr/>
          </p:nvSpPr>
          <p:spPr>
            <a:xfrm>
              <a:off x="1821632" y="4457664"/>
              <a:ext cx="92896" cy="685824"/>
            </a:xfrm>
            <a:custGeom>
              <a:avLst/>
              <a:gdLst/>
              <a:ahLst/>
              <a:cxnLst/>
              <a:rect l="l" t="t" r="r" b="b"/>
              <a:pathLst>
                <a:path w="2903" h="21432" extrusionOk="0">
                  <a:moveTo>
                    <a:pt x="1" y="1"/>
                  </a:moveTo>
                  <a:lnTo>
                    <a:pt x="1" y="21432"/>
                  </a:lnTo>
                  <a:lnTo>
                    <a:pt x="2903" y="21432"/>
                  </a:lnTo>
                  <a:lnTo>
                    <a:pt x="2903"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5" name="Google Shape;165;p3"/>
            <p:cNvSpPr/>
            <p:nvPr/>
          </p:nvSpPr>
          <p:spPr>
            <a:xfrm>
              <a:off x="1685920" y="4638048"/>
              <a:ext cx="94688" cy="505440"/>
            </a:xfrm>
            <a:custGeom>
              <a:avLst/>
              <a:gdLst/>
              <a:ahLst/>
              <a:cxnLst/>
              <a:rect l="l" t="t" r="r" b="b"/>
              <a:pathLst>
                <a:path w="2959" h="15795" extrusionOk="0">
                  <a:moveTo>
                    <a:pt x="0" y="1"/>
                  </a:moveTo>
                  <a:lnTo>
                    <a:pt x="0" y="15795"/>
                  </a:lnTo>
                  <a:lnTo>
                    <a:pt x="2958" y="15795"/>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6" name="Google Shape;166;p3"/>
            <p:cNvSpPr/>
            <p:nvPr/>
          </p:nvSpPr>
          <p:spPr>
            <a:xfrm>
              <a:off x="2098464" y="4386240"/>
              <a:ext cx="94688" cy="757248"/>
            </a:xfrm>
            <a:custGeom>
              <a:avLst/>
              <a:gdLst/>
              <a:ahLst/>
              <a:cxnLst/>
              <a:rect l="l" t="t" r="r" b="b"/>
              <a:pathLst>
                <a:path w="2959" h="23664" extrusionOk="0">
                  <a:moveTo>
                    <a:pt x="0" y="0"/>
                  </a:moveTo>
                  <a:lnTo>
                    <a:pt x="0" y="23664"/>
                  </a:lnTo>
                  <a:lnTo>
                    <a:pt x="2958" y="23664"/>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7" name="Google Shape;167;p3"/>
            <p:cNvSpPr/>
            <p:nvPr/>
          </p:nvSpPr>
          <p:spPr>
            <a:xfrm>
              <a:off x="1962720" y="4457664"/>
              <a:ext cx="94688" cy="685824"/>
            </a:xfrm>
            <a:custGeom>
              <a:avLst/>
              <a:gdLst/>
              <a:ahLst/>
              <a:cxnLst/>
              <a:rect l="l" t="t" r="r" b="b"/>
              <a:pathLst>
                <a:path w="2959" h="21432" extrusionOk="0">
                  <a:moveTo>
                    <a:pt x="1" y="1"/>
                  </a:moveTo>
                  <a:lnTo>
                    <a:pt x="1" y="21432"/>
                  </a:lnTo>
                  <a:lnTo>
                    <a:pt x="2959" y="21432"/>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8" name="Google Shape;168;p3"/>
            <p:cNvSpPr/>
            <p:nvPr/>
          </p:nvSpPr>
          <p:spPr>
            <a:xfrm>
              <a:off x="2375296" y="4711264"/>
              <a:ext cx="94656" cy="432224"/>
            </a:xfrm>
            <a:custGeom>
              <a:avLst/>
              <a:gdLst/>
              <a:ahLst/>
              <a:cxnLst/>
              <a:rect l="l" t="t" r="r" b="b"/>
              <a:pathLst>
                <a:path w="2958" h="13507" extrusionOk="0">
                  <a:moveTo>
                    <a:pt x="0" y="1"/>
                  </a:moveTo>
                  <a:lnTo>
                    <a:pt x="0" y="13507"/>
                  </a:lnTo>
                  <a:lnTo>
                    <a:pt x="2958" y="13507"/>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9" name="Google Shape;169;p3"/>
            <p:cNvSpPr/>
            <p:nvPr/>
          </p:nvSpPr>
          <p:spPr>
            <a:xfrm>
              <a:off x="2239552" y="4536256"/>
              <a:ext cx="94688" cy="607232"/>
            </a:xfrm>
            <a:custGeom>
              <a:avLst/>
              <a:gdLst/>
              <a:ahLst/>
              <a:cxnLst/>
              <a:rect l="l" t="t" r="r" b="b"/>
              <a:pathLst>
                <a:path w="2959" h="18976" extrusionOk="0">
                  <a:moveTo>
                    <a:pt x="0" y="0"/>
                  </a:moveTo>
                  <a:lnTo>
                    <a:pt x="0" y="18976"/>
                  </a:lnTo>
                  <a:lnTo>
                    <a:pt x="2958" y="18976"/>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0" name="Google Shape;170;p3"/>
            <p:cNvSpPr/>
            <p:nvPr/>
          </p:nvSpPr>
          <p:spPr>
            <a:xfrm>
              <a:off x="2652096" y="4704128"/>
              <a:ext cx="94688" cy="439360"/>
            </a:xfrm>
            <a:custGeom>
              <a:avLst/>
              <a:gdLst/>
              <a:ahLst/>
              <a:cxnLst/>
              <a:rect l="l" t="t" r="r" b="b"/>
              <a:pathLst>
                <a:path w="2959" h="13730" extrusionOk="0">
                  <a:moveTo>
                    <a:pt x="1" y="1"/>
                  </a:moveTo>
                  <a:lnTo>
                    <a:pt x="1" y="13730"/>
                  </a:lnTo>
                  <a:lnTo>
                    <a:pt x="2959" y="13730"/>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1" name="Google Shape;171;p3"/>
            <p:cNvSpPr/>
            <p:nvPr/>
          </p:nvSpPr>
          <p:spPr>
            <a:xfrm>
              <a:off x="2516384" y="4764864"/>
              <a:ext cx="94688" cy="378624"/>
            </a:xfrm>
            <a:custGeom>
              <a:avLst/>
              <a:gdLst/>
              <a:ahLst/>
              <a:cxnLst/>
              <a:rect l="l" t="t" r="r" b="b"/>
              <a:pathLst>
                <a:path w="2959" h="11832" extrusionOk="0">
                  <a:moveTo>
                    <a:pt x="0" y="0"/>
                  </a:moveTo>
                  <a:lnTo>
                    <a:pt x="0" y="11832"/>
                  </a:lnTo>
                  <a:lnTo>
                    <a:pt x="2958" y="11832"/>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2" name="Google Shape;172;p3"/>
            <p:cNvSpPr/>
            <p:nvPr/>
          </p:nvSpPr>
          <p:spPr>
            <a:xfrm>
              <a:off x="2930720" y="4421952"/>
              <a:ext cx="92896" cy="721536"/>
            </a:xfrm>
            <a:custGeom>
              <a:avLst/>
              <a:gdLst/>
              <a:ahLst/>
              <a:cxnLst/>
              <a:rect l="l" t="t" r="r" b="b"/>
              <a:pathLst>
                <a:path w="2903" h="22548" extrusionOk="0">
                  <a:moveTo>
                    <a:pt x="0" y="1"/>
                  </a:moveTo>
                  <a:lnTo>
                    <a:pt x="0" y="22548"/>
                  </a:lnTo>
                  <a:lnTo>
                    <a:pt x="2902" y="22548"/>
                  </a:lnTo>
                  <a:lnTo>
                    <a:pt x="2902"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3" name="Google Shape;173;p3"/>
            <p:cNvSpPr/>
            <p:nvPr/>
          </p:nvSpPr>
          <p:spPr>
            <a:xfrm>
              <a:off x="2794976" y="4638048"/>
              <a:ext cx="92896" cy="505440"/>
            </a:xfrm>
            <a:custGeom>
              <a:avLst/>
              <a:gdLst/>
              <a:ahLst/>
              <a:cxnLst/>
              <a:rect l="l" t="t" r="r" b="b"/>
              <a:pathLst>
                <a:path w="2903" h="15795" extrusionOk="0">
                  <a:moveTo>
                    <a:pt x="1" y="1"/>
                  </a:moveTo>
                  <a:lnTo>
                    <a:pt x="1" y="15795"/>
                  </a:lnTo>
                  <a:lnTo>
                    <a:pt x="2903" y="15795"/>
                  </a:lnTo>
                  <a:lnTo>
                    <a:pt x="2903"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4" name="Google Shape;174;p3"/>
            <p:cNvSpPr/>
            <p:nvPr/>
          </p:nvSpPr>
          <p:spPr>
            <a:xfrm>
              <a:off x="3207520" y="4386240"/>
              <a:ext cx="94688" cy="757248"/>
            </a:xfrm>
            <a:custGeom>
              <a:avLst/>
              <a:gdLst/>
              <a:ahLst/>
              <a:cxnLst/>
              <a:rect l="l" t="t" r="r" b="b"/>
              <a:pathLst>
                <a:path w="2959" h="23664" extrusionOk="0">
                  <a:moveTo>
                    <a:pt x="1" y="0"/>
                  </a:moveTo>
                  <a:lnTo>
                    <a:pt x="1" y="23664"/>
                  </a:lnTo>
                  <a:lnTo>
                    <a:pt x="2959" y="23664"/>
                  </a:lnTo>
                  <a:lnTo>
                    <a:pt x="2959"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5" name="Google Shape;175;p3"/>
            <p:cNvSpPr/>
            <p:nvPr/>
          </p:nvSpPr>
          <p:spPr>
            <a:xfrm>
              <a:off x="3071808" y="4314784"/>
              <a:ext cx="94688" cy="828704"/>
            </a:xfrm>
            <a:custGeom>
              <a:avLst/>
              <a:gdLst/>
              <a:ahLst/>
              <a:cxnLst/>
              <a:rect l="l" t="t" r="r" b="b"/>
              <a:pathLst>
                <a:path w="2959" h="25897" extrusionOk="0">
                  <a:moveTo>
                    <a:pt x="0" y="1"/>
                  </a:moveTo>
                  <a:lnTo>
                    <a:pt x="0" y="25897"/>
                  </a:lnTo>
                  <a:lnTo>
                    <a:pt x="2958" y="25897"/>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6" name="Google Shape;176;p3"/>
            <p:cNvSpPr/>
            <p:nvPr/>
          </p:nvSpPr>
          <p:spPr>
            <a:xfrm>
              <a:off x="3484352" y="4530912"/>
              <a:ext cx="94688" cy="612576"/>
            </a:xfrm>
            <a:custGeom>
              <a:avLst/>
              <a:gdLst/>
              <a:ahLst/>
              <a:cxnLst/>
              <a:rect l="l" t="t" r="r" b="b"/>
              <a:pathLst>
                <a:path w="2959" h="19143" extrusionOk="0">
                  <a:moveTo>
                    <a:pt x="0" y="0"/>
                  </a:moveTo>
                  <a:lnTo>
                    <a:pt x="0" y="19143"/>
                  </a:lnTo>
                  <a:lnTo>
                    <a:pt x="2958" y="19143"/>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7" name="Google Shape;177;p3"/>
            <p:cNvSpPr/>
            <p:nvPr/>
          </p:nvSpPr>
          <p:spPr>
            <a:xfrm>
              <a:off x="3348608" y="4314784"/>
              <a:ext cx="94688" cy="828704"/>
            </a:xfrm>
            <a:custGeom>
              <a:avLst/>
              <a:gdLst/>
              <a:ahLst/>
              <a:cxnLst/>
              <a:rect l="l" t="t" r="r" b="b"/>
              <a:pathLst>
                <a:path w="2959" h="25897" extrusionOk="0">
                  <a:moveTo>
                    <a:pt x="1" y="1"/>
                  </a:moveTo>
                  <a:lnTo>
                    <a:pt x="1" y="25897"/>
                  </a:lnTo>
                  <a:lnTo>
                    <a:pt x="2959" y="25897"/>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8" name="Google Shape;178;p3"/>
            <p:cNvSpPr/>
            <p:nvPr/>
          </p:nvSpPr>
          <p:spPr>
            <a:xfrm>
              <a:off x="3761184" y="4739840"/>
              <a:ext cx="94656" cy="403648"/>
            </a:xfrm>
            <a:custGeom>
              <a:avLst/>
              <a:gdLst/>
              <a:ahLst/>
              <a:cxnLst/>
              <a:rect l="l" t="t" r="r" b="b"/>
              <a:pathLst>
                <a:path w="2958" h="12614" extrusionOk="0">
                  <a:moveTo>
                    <a:pt x="0" y="1"/>
                  </a:moveTo>
                  <a:lnTo>
                    <a:pt x="0" y="12614"/>
                  </a:lnTo>
                  <a:lnTo>
                    <a:pt x="2958" y="12614"/>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79" name="Google Shape;179;p3"/>
            <p:cNvSpPr/>
            <p:nvPr/>
          </p:nvSpPr>
          <p:spPr>
            <a:xfrm>
              <a:off x="3625440" y="4457664"/>
              <a:ext cx="94688" cy="685824"/>
            </a:xfrm>
            <a:custGeom>
              <a:avLst/>
              <a:gdLst/>
              <a:ahLst/>
              <a:cxnLst/>
              <a:rect l="l" t="t" r="r" b="b"/>
              <a:pathLst>
                <a:path w="2959" h="21432" extrusionOk="0">
                  <a:moveTo>
                    <a:pt x="0" y="1"/>
                  </a:moveTo>
                  <a:lnTo>
                    <a:pt x="0" y="21432"/>
                  </a:lnTo>
                  <a:lnTo>
                    <a:pt x="2958" y="21432"/>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0" name="Google Shape;180;p3"/>
            <p:cNvSpPr/>
            <p:nvPr/>
          </p:nvSpPr>
          <p:spPr>
            <a:xfrm>
              <a:off x="4037984" y="4638048"/>
              <a:ext cx="94688" cy="505440"/>
            </a:xfrm>
            <a:custGeom>
              <a:avLst/>
              <a:gdLst/>
              <a:ahLst/>
              <a:cxnLst/>
              <a:rect l="l" t="t" r="r" b="b"/>
              <a:pathLst>
                <a:path w="2959" h="15795" extrusionOk="0">
                  <a:moveTo>
                    <a:pt x="1" y="1"/>
                  </a:moveTo>
                  <a:lnTo>
                    <a:pt x="1" y="15795"/>
                  </a:lnTo>
                  <a:lnTo>
                    <a:pt x="2959" y="15795"/>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1" name="Google Shape;181;p3"/>
            <p:cNvSpPr/>
            <p:nvPr/>
          </p:nvSpPr>
          <p:spPr>
            <a:xfrm>
              <a:off x="3902272" y="4836288"/>
              <a:ext cx="94656" cy="307200"/>
            </a:xfrm>
            <a:custGeom>
              <a:avLst/>
              <a:gdLst/>
              <a:ahLst/>
              <a:cxnLst/>
              <a:rect l="l" t="t" r="r" b="b"/>
              <a:pathLst>
                <a:path w="2958" h="9600" extrusionOk="0">
                  <a:moveTo>
                    <a:pt x="0" y="1"/>
                  </a:moveTo>
                  <a:lnTo>
                    <a:pt x="0" y="9600"/>
                  </a:lnTo>
                  <a:lnTo>
                    <a:pt x="2958" y="9600"/>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2" name="Google Shape;182;p3"/>
            <p:cNvSpPr/>
            <p:nvPr/>
          </p:nvSpPr>
          <p:spPr>
            <a:xfrm>
              <a:off x="4316608" y="4638048"/>
              <a:ext cx="94688" cy="505440"/>
            </a:xfrm>
            <a:custGeom>
              <a:avLst/>
              <a:gdLst/>
              <a:ahLst/>
              <a:cxnLst/>
              <a:rect l="l" t="t" r="r" b="b"/>
              <a:pathLst>
                <a:path w="2959" h="15795" extrusionOk="0">
                  <a:moveTo>
                    <a:pt x="0" y="1"/>
                  </a:moveTo>
                  <a:lnTo>
                    <a:pt x="0" y="15795"/>
                  </a:lnTo>
                  <a:lnTo>
                    <a:pt x="2958" y="15795"/>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3" name="Google Shape;183;p3"/>
            <p:cNvSpPr/>
            <p:nvPr/>
          </p:nvSpPr>
          <p:spPr>
            <a:xfrm>
              <a:off x="4180864"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4" name="Google Shape;184;p3"/>
            <p:cNvSpPr/>
            <p:nvPr/>
          </p:nvSpPr>
          <p:spPr>
            <a:xfrm>
              <a:off x="4593408" y="4571968"/>
              <a:ext cx="94688" cy="571520"/>
            </a:xfrm>
            <a:custGeom>
              <a:avLst/>
              <a:gdLst/>
              <a:ahLst/>
              <a:cxnLst/>
              <a:rect l="l" t="t" r="r" b="b"/>
              <a:pathLst>
                <a:path w="2959" h="17860" extrusionOk="0">
                  <a:moveTo>
                    <a:pt x="1" y="1"/>
                  </a:moveTo>
                  <a:lnTo>
                    <a:pt x="1" y="17860"/>
                  </a:lnTo>
                  <a:lnTo>
                    <a:pt x="2959" y="17860"/>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5" name="Google Shape;185;p3"/>
            <p:cNvSpPr/>
            <p:nvPr/>
          </p:nvSpPr>
          <p:spPr>
            <a:xfrm>
              <a:off x="4457696"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6" name="Google Shape;186;p3"/>
            <p:cNvSpPr/>
            <p:nvPr/>
          </p:nvSpPr>
          <p:spPr>
            <a:xfrm>
              <a:off x="4870240" y="4386240"/>
              <a:ext cx="94688" cy="757248"/>
            </a:xfrm>
            <a:custGeom>
              <a:avLst/>
              <a:gdLst/>
              <a:ahLst/>
              <a:cxnLst/>
              <a:rect l="l" t="t" r="r" b="b"/>
              <a:pathLst>
                <a:path w="2959" h="23664" extrusionOk="0">
                  <a:moveTo>
                    <a:pt x="0" y="0"/>
                  </a:moveTo>
                  <a:lnTo>
                    <a:pt x="0" y="23664"/>
                  </a:lnTo>
                  <a:lnTo>
                    <a:pt x="2958" y="23664"/>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7" name="Google Shape;187;p3"/>
            <p:cNvSpPr/>
            <p:nvPr/>
          </p:nvSpPr>
          <p:spPr>
            <a:xfrm>
              <a:off x="4734496" y="4457664"/>
              <a:ext cx="94688" cy="685824"/>
            </a:xfrm>
            <a:custGeom>
              <a:avLst/>
              <a:gdLst/>
              <a:ahLst/>
              <a:cxnLst/>
              <a:rect l="l" t="t" r="r" b="b"/>
              <a:pathLst>
                <a:path w="2959" h="21432" extrusionOk="0">
                  <a:moveTo>
                    <a:pt x="1" y="1"/>
                  </a:moveTo>
                  <a:lnTo>
                    <a:pt x="1" y="21432"/>
                  </a:lnTo>
                  <a:lnTo>
                    <a:pt x="2959" y="21432"/>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8" name="Google Shape;188;p3"/>
            <p:cNvSpPr/>
            <p:nvPr/>
          </p:nvSpPr>
          <p:spPr>
            <a:xfrm>
              <a:off x="5147072" y="4157632"/>
              <a:ext cx="94656" cy="985856"/>
            </a:xfrm>
            <a:custGeom>
              <a:avLst/>
              <a:gdLst/>
              <a:ahLst/>
              <a:cxnLst/>
              <a:rect l="l" t="t" r="r" b="b"/>
              <a:pathLst>
                <a:path w="2958" h="30808" extrusionOk="0">
                  <a:moveTo>
                    <a:pt x="0" y="1"/>
                  </a:moveTo>
                  <a:lnTo>
                    <a:pt x="0" y="30808"/>
                  </a:lnTo>
                  <a:lnTo>
                    <a:pt x="2958" y="30808"/>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89" name="Google Shape;189;p3"/>
            <p:cNvSpPr/>
            <p:nvPr/>
          </p:nvSpPr>
          <p:spPr>
            <a:xfrm>
              <a:off x="5011328" y="4229088"/>
              <a:ext cx="94688" cy="914400"/>
            </a:xfrm>
            <a:custGeom>
              <a:avLst/>
              <a:gdLst/>
              <a:ahLst/>
              <a:cxnLst/>
              <a:rect l="l" t="t" r="r" b="b"/>
              <a:pathLst>
                <a:path w="2959" h="28575" extrusionOk="0">
                  <a:moveTo>
                    <a:pt x="0" y="0"/>
                  </a:moveTo>
                  <a:lnTo>
                    <a:pt x="0" y="28575"/>
                  </a:lnTo>
                  <a:lnTo>
                    <a:pt x="2958" y="28575"/>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0" name="Google Shape;190;p3"/>
            <p:cNvSpPr/>
            <p:nvPr/>
          </p:nvSpPr>
          <p:spPr>
            <a:xfrm>
              <a:off x="5425664"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1" name="Google Shape;191;p3"/>
            <p:cNvSpPr/>
            <p:nvPr/>
          </p:nvSpPr>
          <p:spPr>
            <a:xfrm>
              <a:off x="5289920" y="4277280"/>
              <a:ext cx="94688" cy="866208"/>
            </a:xfrm>
            <a:custGeom>
              <a:avLst/>
              <a:gdLst/>
              <a:ahLst/>
              <a:cxnLst/>
              <a:rect l="l" t="t" r="r" b="b"/>
              <a:pathLst>
                <a:path w="2959" h="27069" extrusionOk="0">
                  <a:moveTo>
                    <a:pt x="1" y="1"/>
                  </a:moveTo>
                  <a:lnTo>
                    <a:pt x="1" y="27069"/>
                  </a:lnTo>
                  <a:lnTo>
                    <a:pt x="2959" y="27069"/>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2" name="Google Shape;192;p3"/>
            <p:cNvSpPr/>
            <p:nvPr/>
          </p:nvSpPr>
          <p:spPr>
            <a:xfrm>
              <a:off x="5702496" y="4721984"/>
              <a:ext cx="94688" cy="421504"/>
            </a:xfrm>
            <a:custGeom>
              <a:avLst/>
              <a:gdLst/>
              <a:ahLst/>
              <a:cxnLst/>
              <a:rect l="l" t="t" r="r" b="b"/>
              <a:pathLst>
                <a:path w="2959" h="13172" extrusionOk="0">
                  <a:moveTo>
                    <a:pt x="0" y="1"/>
                  </a:moveTo>
                  <a:lnTo>
                    <a:pt x="0" y="13172"/>
                  </a:lnTo>
                  <a:lnTo>
                    <a:pt x="2958" y="13172"/>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3" name="Google Shape;193;p3"/>
            <p:cNvSpPr/>
            <p:nvPr/>
          </p:nvSpPr>
          <p:spPr>
            <a:xfrm>
              <a:off x="5566752" y="4416608"/>
              <a:ext cx="94688" cy="726880"/>
            </a:xfrm>
            <a:custGeom>
              <a:avLst/>
              <a:gdLst/>
              <a:ahLst/>
              <a:cxnLst/>
              <a:rect l="l" t="t" r="r" b="b"/>
              <a:pathLst>
                <a:path w="2959" h="22715" extrusionOk="0">
                  <a:moveTo>
                    <a:pt x="0" y="0"/>
                  </a:moveTo>
                  <a:lnTo>
                    <a:pt x="0" y="22715"/>
                  </a:lnTo>
                  <a:lnTo>
                    <a:pt x="2958" y="22715"/>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4" name="Google Shape;194;p3"/>
            <p:cNvSpPr/>
            <p:nvPr/>
          </p:nvSpPr>
          <p:spPr>
            <a:xfrm>
              <a:off x="5979296" y="4571968"/>
              <a:ext cx="94688" cy="571520"/>
            </a:xfrm>
            <a:custGeom>
              <a:avLst/>
              <a:gdLst/>
              <a:ahLst/>
              <a:cxnLst/>
              <a:rect l="l" t="t" r="r" b="b"/>
              <a:pathLst>
                <a:path w="2959" h="17860" extrusionOk="0">
                  <a:moveTo>
                    <a:pt x="1" y="1"/>
                  </a:moveTo>
                  <a:lnTo>
                    <a:pt x="1" y="17860"/>
                  </a:lnTo>
                  <a:lnTo>
                    <a:pt x="2959" y="17860"/>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5" name="Google Shape;195;p3"/>
            <p:cNvSpPr/>
            <p:nvPr/>
          </p:nvSpPr>
          <p:spPr>
            <a:xfrm>
              <a:off x="5843584" y="4813088"/>
              <a:ext cx="94688" cy="330400"/>
            </a:xfrm>
            <a:custGeom>
              <a:avLst/>
              <a:gdLst/>
              <a:ahLst/>
              <a:cxnLst/>
              <a:rect l="l" t="t" r="r" b="b"/>
              <a:pathLst>
                <a:path w="2959" h="10325" extrusionOk="0">
                  <a:moveTo>
                    <a:pt x="0" y="0"/>
                  </a:moveTo>
                  <a:lnTo>
                    <a:pt x="0" y="10325"/>
                  </a:lnTo>
                  <a:lnTo>
                    <a:pt x="2958" y="10325"/>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6" name="Google Shape;196;p3"/>
            <p:cNvSpPr/>
            <p:nvPr/>
          </p:nvSpPr>
          <p:spPr>
            <a:xfrm>
              <a:off x="6256128" y="4807712"/>
              <a:ext cx="94688" cy="335776"/>
            </a:xfrm>
            <a:custGeom>
              <a:avLst/>
              <a:gdLst/>
              <a:ahLst/>
              <a:cxnLst/>
              <a:rect l="l" t="t" r="r" b="b"/>
              <a:pathLst>
                <a:path w="2959" h="10493" extrusionOk="0">
                  <a:moveTo>
                    <a:pt x="0" y="1"/>
                  </a:moveTo>
                  <a:lnTo>
                    <a:pt x="0" y="10493"/>
                  </a:lnTo>
                  <a:lnTo>
                    <a:pt x="2958" y="10493"/>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7" name="Google Shape;197;p3"/>
            <p:cNvSpPr/>
            <p:nvPr/>
          </p:nvSpPr>
          <p:spPr>
            <a:xfrm>
              <a:off x="6120384" y="4739840"/>
              <a:ext cx="94688" cy="403648"/>
            </a:xfrm>
            <a:custGeom>
              <a:avLst/>
              <a:gdLst/>
              <a:ahLst/>
              <a:cxnLst/>
              <a:rect l="l" t="t" r="r" b="b"/>
              <a:pathLst>
                <a:path w="2959" h="12614" extrusionOk="0">
                  <a:moveTo>
                    <a:pt x="1" y="1"/>
                  </a:moveTo>
                  <a:lnTo>
                    <a:pt x="1" y="12614"/>
                  </a:lnTo>
                  <a:lnTo>
                    <a:pt x="2959" y="12614"/>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8" name="Google Shape;198;p3"/>
            <p:cNvSpPr/>
            <p:nvPr/>
          </p:nvSpPr>
          <p:spPr>
            <a:xfrm>
              <a:off x="6534720" y="4505888"/>
              <a:ext cx="92896" cy="637600"/>
            </a:xfrm>
            <a:custGeom>
              <a:avLst/>
              <a:gdLst/>
              <a:ahLst/>
              <a:cxnLst/>
              <a:rect l="l" t="t" r="r" b="b"/>
              <a:pathLst>
                <a:path w="2903" h="19925" extrusionOk="0">
                  <a:moveTo>
                    <a:pt x="1" y="1"/>
                  </a:moveTo>
                  <a:lnTo>
                    <a:pt x="1" y="19925"/>
                  </a:lnTo>
                  <a:lnTo>
                    <a:pt x="2903" y="19925"/>
                  </a:lnTo>
                  <a:lnTo>
                    <a:pt x="2903"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99" name="Google Shape;199;p3"/>
            <p:cNvSpPr/>
            <p:nvPr/>
          </p:nvSpPr>
          <p:spPr>
            <a:xfrm>
              <a:off x="6399008" y="4739840"/>
              <a:ext cx="92896" cy="403648"/>
            </a:xfrm>
            <a:custGeom>
              <a:avLst/>
              <a:gdLst/>
              <a:ahLst/>
              <a:cxnLst/>
              <a:rect l="l" t="t" r="r" b="b"/>
              <a:pathLst>
                <a:path w="2903" h="12614" extrusionOk="0">
                  <a:moveTo>
                    <a:pt x="0" y="1"/>
                  </a:moveTo>
                  <a:lnTo>
                    <a:pt x="0" y="12614"/>
                  </a:lnTo>
                  <a:lnTo>
                    <a:pt x="2902" y="12614"/>
                  </a:lnTo>
                  <a:lnTo>
                    <a:pt x="2902"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0" name="Google Shape;200;p3"/>
            <p:cNvSpPr/>
            <p:nvPr/>
          </p:nvSpPr>
          <p:spPr>
            <a:xfrm>
              <a:off x="6811552" y="4807712"/>
              <a:ext cx="94688" cy="335776"/>
            </a:xfrm>
            <a:custGeom>
              <a:avLst/>
              <a:gdLst/>
              <a:ahLst/>
              <a:cxnLst/>
              <a:rect l="l" t="t" r="r" b="b"/>
              <a:pathLst>
                <a:path w="2959" h="10493" extrusionOk="0">
                  <a:moveTo>
                    <a:pt x="0" y="1"/>
                  </a:moveTo>
                  <a:lnTo>
                    <a:pt x="0" y="10493"/>
                  </a:lnTo>
                  <a:lnTo>
                    <a:pt x="2958" y="10493"/>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1" name="Google Shape;201;p3"/>
            <p:cNvSpPr/>
            <p:nvPr/>
          </p:nvSpPr>
          <p:spPr>
            <a:xfrm>
              <a:off x="6675808" y="4614848"/>
              <a:ext cx="94688" cy="528640"/>
            </a:xfrm>
            <a:custGeom>
              <a:avLst/>
              <a:gdLst/>
              <a:ahLst/>
              <a:cxnLst/>
              <a:rect l="l" t="t" r="r" b="b"/>
              <a:pathLst>
                <a:path w="2959" h="16520" extrusionOk="0">
                  <a:moveTo>
                    <a:pt x="1" y="0"/>
                  </a:moveTo>
                  <a:lnTo>
                    <a:pt x="1" y="16520"/>
                  </a:lnTo>
                  <a:lnTo>
                    <a:pt x="2959" y="16520"/>
                  </a:lnTo>
                  <a:lnTo>
                    <a:pt x="2959"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2" name="Google Shape;202;p3"/>
            <p:cNvSpPr/>
            <p:nvPr/>
          </p:nvSpPr>
          <p:spPr>
            <a:xfrm>
              <a:off x="7088384"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3" name="Google Shape;203;p3"/>
            <p:cNvSpPr/>
            <p:nvPr/>
          </p:nvSpPr>
          <p:spPr>
            <a:xfrm>
              <a:off x="6952640" y="4530912"/>
              <a:ext cx="94688" cy="612576"/>
            </a:xfrm>
            <a:custGeom>
              <a:avLst/>
              <a:gdLst/>
              <a:ahLst/>
              <a:cxnLst/>
              <a:rect l="l" t="t" r="r" b="b"/>
              <a:pathLst>
                <a:path w="2959" h="19143" extrusionOk="0">
                  <a:moveTo>
                    <a:pt x="0" y="0"/>
                  </a:moveTo>
                  <a:lnTo>
                    <a:pt x="0" y="19143"/>
                  </a:lnTo>
                  <a:lnTo>
                    <a:pt x="2958" y="19143"/>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4" name="Google Shape;204;p3"/>
            <p:cNvSpPr/>
            <p:nvPr/>
          </p:nvSpPr>
          <p:spPr>
            <a:xfrm>
              <a:off x="7365184" y="4739840"/>
              <a:ext cx="94688" cy="403648"/>
            </a:xfrm>
            <a:custGeom>
              <a:avLst/>
              <a:gdLst/>
              <a:ahLst/>
              <a:cxnLst/>
              <a:rect l="l" t="t" r="r" b="b"/>
              <a:pathLst>
                <a:path w="2959" h="12614" extrusionOk="0">
                  <a:moveTo>
                    <a:pt x="1" y="1"/>
                  </a:moveTo>
                  <a:lnTo>
                    <a:pt x="1" y="12614"/>
                  </a:lnTo>
                  <a:lnTo>
                    <a:pt x="2959" y="12614"/>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5" name="Google Shape;205;p3"/>
            <p:cNvSpPr/>
            <p:nvPr/>
          </p:nvSpPr>
          <p:spPr>
            <a:xfrm>
              <a:off x="7229472" y="4825568"/>
              <a:ext cx="94688" cy="317920"/>
            </a:xfrm>
            <a:custGeom>
              <a:avLst/>
              <a:gdLst/>
              <a:ahLst/>
              <a:cxnLst/>
              <a:rect l="l" t="t" r="r" b="b"/>
              <a:pathLst>
                <a:path w="2959" h="9935" extrusionOk="0">
                  <a:moveTo>
                    <a:pt x="0" y="1"/>
                  </a:moveTo>
                  <a:lnTo>
                    <a:pt x="0" y="9935"/>
                  </a:lnTo>
                  <a:lnTo>
                    <a:pt x="2958" y="9935"/>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6" name="Google Shape;206;p3"/>
            <p:cNvSpPr/>
            <p:nvPr/>
          </p:nvSpPr>
          <p:spPr>
            <a:xfrm>
              <a:off x="7643808" y="4632704"/>
              <a:ext cx="92896" cy="510784"/>
            </a:xfrm>
            <a:custGeom>
              <a:avLst/>
              <a:gdLst/>
              <a:ahLst/>
              <a:cxnLst/>
              <a:rect l="l" t="t" r="r" b="b"/>
              <a:pathLst>
                <a:path w="2903" h="15962" extrusionOk="0">
                  <a:moveTo>
                    <a:pt x="0" y="0"/>
                  </a:moveTo>
                  <a:lnTo>
                    <a:pt x="0" y="15962"/>
                  </a:lnTo>
                  <a:lnTo>
                    <a:pt x="2902" y="15962"/>
                  </a:lnTo>
                  <a:lnTo>
                    <a:pt x="2902"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7" name="Google Shape;207;p3"/>
            <p:cNvSpPr/>
            <p:nvPr/>
          </p:nvSpPr>
          <p:spPr>
            <a:xfrm>
              <a:off x="7506272" y="4963104"/>
              <a:ext cx="94688" cy="180384"/>
            </a:xfrm>
            <a:custGeom>
              <a:avLst/>
              <a:gdLst/>
              <a:ahLst/>
              <a:cxnLst/>
              <a:rect l="l" t="t" r="r" b="b"/>
              <a:pathLst>
                <a:path w="2959" h="5637" extrusionOk="0">
                  <a:moveTo>
                    <a:pt x="1" y="0"/>
                  </a:moveTo>
                  <a:lnTo>
                    <a:pt x="1" y="5637"/>
                  </a:lnTo>
                  <a:lnTo>
                    <a:pt x="2959" y="5637"/>
                  </a:lnTo>
                  <a:lnTo>
                    <a:pt x="2959"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8" name="Google Shape;208;p3"/>
            <p:cNvSpPr/>
            <p:nvPr/>
          </p:nvSpPr>
          <p:spPr>
            <a:xfrm>
              <a:off x="7920608" y="4909504"/>
              <a:ext cx="94688" cy="233984"/>
            </a:xfrm>
            <a:custGeom>
              <a:avLst/>
              <a:gdLst/>
              <a:ahLst/>
              <a:cxnLst/>
              <a:rect l="l" t="t" r="r" b="b"/>
              <a:pathLst>
                <a:path w="2959" h="7312" extrusionOk="0">
                  <a:moveTo>
                    <a:pt x="1" y="1"/>
                  </a:moveTo>
                  <a:lnTo>
                    <a:pt x="1" y="7312"/>
                  </a:lnTo>
                  <a:lnTo>
                    <a:pt x="2959" y="7312"/>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09" name="Google Shape;209;p3"/>
            <p:cNvSpPr/>
            <p:nvPr/>
          </p:nvSpPr>
          <p:spPr>
            <a:xfrm>
              <a:off x="7784896" y="4777344"/>
              <a:ext cx="94688" cy="366144"/>
            </a:xfrm>
            <a:custGeom>
              <a:avLst/>
              <a:gdLst/>
              <a:ahLst/>
              <a:cxnLst/>
              <a:rect l="l" t="t" r="r" b="b"/>
              <a:pathLst>
                <a:path w="2959" h="11442" extrusionOk="0">
                  <a:moveTo>
                    <a:pt x="0" y="1"/>
                  </a:moveTo>
                  <a:lnTo>
                    <a:pt x="0" y="11442"/>
                  </a:lnTo>
                  <a:lnTo>
                    <a:pt x="2958" y="11442"/>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0" name="Google Shape;210;p3"/>
            <p:cNvSpPr/>
            <p:nvPr/>
          </p:nvSpPr>
          <p:spPr>
            <a:xfrm>
              <a:off x="8197440"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1" name="Google Shape;211;p3"/>
            <p:cNvSpPr/>
            <p:nvPr/>
          </p:nvSpPr>
          <p:spPr>
            <a:xfrm>
              <a:off x="8061696" y="4777344"/>
              <a:ext cx="94688" cy="366144"/>
            </a:xfrm>
            <a:custGeom>
              <a:avLst/>
              <a:gdLst/>
              <a:ahLst/>
              <a:cxnLst/>
              <a:rect l="l" t="t" r="r" b="b"/>
              <a:pathLst>
                <a:path w="2959" h="11442" extrusionOk="0">
                  <a:moveTo>
                    <a:pt x="1" y="1"/>
                  </a:moveTo>
                  <a:lnTo>
                    <a:pt x="1" y="11442"/>
                  </a:lnTo>
                  <a:lnTo>
                    <a:pt x="2959" y="11442"/>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2" name="Google Shape;212;p3"/>
            <p:cNvSpPr/>
            <p:nvPr/>
          </p:nvSpPr>
          <p:spPr>
            <a:xfrm>
              <a:off x="8474272" y="4721984"/>
              <a:ext cx="94656" cy="421504"/>
            </a:xfrm>
            <a:custGeom>
              <a:avLst/>
              <a:gdLst/>
              <a:ahLst/>
              <a:cxnLst/>
              <a:rect l="l" t="t" r="r" b="b"/>
              <a:pathLst>
                <a:path w="2958" h="13172" extrusionOk="0">
                  <a:moveTo>
                    <a:pt x="0" y="1"/>
                  </a:moveTo>
                  <a:lnTo>
                    <a:pt x="0" y="13172"/>
                  </a:lnTo>
                  <a:lnTo>
                    <a:pt x="2958" y="13172"/>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3" name="Google Shape;213;p3"/>
            <p:cNvSpPr/>
            <p:nvPr/>
          </p:nvSpPr>
          <p:spPr>
            <a:xfrm>
              <a:off x="8338528" y="4488032"/>
              <a:ext cx="94688" cy="655456"/>
            </a:xfrm>
            <a:custGeom>
              <a:avLst/>
              <a:gdLst/>
              <a:ahLst/>
              <a:cxnLst/>
              <a:rect l="l" t="t" r="r" b="b"/>
              <a:pathLst>
                <a:path w="2959" h="20483" extrusionOk="0">
                  <a:moveTo>
                    <a:pt x="0" y="1"/>
                  </a:moveTo>
                  <a:lnTo>
                    <a:pt x="0" y="20483"/>
                  </a:lnTo>
                  <a:lnTo>
                    <a:pt x="2958" y="20483"/>
                  </a:lnTo>
                  <a:lnTo>
                    <a:pt x="2958"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4" name="Google Shape;214;p3"/>
            <p:cNvSpPr/>
            <p:nvPr/>
          </p:nvSpPr>
          <p:spPr>
            <a:xfrm>
              <a:off x="8751072" y="4409440"/>
              <a:ext cx="94688" cy="734048"/>
            </a:xfrm>
            <a:custGeom>
              <a:avLst/>
              <a:gdLst/>
              <a:ahLst/>
              <a:cxnLst/>
              <a:rect l="l" t="t" r="r" b="b"/>
              <a:pathLst>
                <a:path w="2959" h="22939" extrusionOk="0">
                  <a:moveTo>
                    <a:pt x="1" y="1"/>
                  </a:moveTo>
                  <a:lnTo>
                    <a:pt x="1" y="22939"/>
                  </a:lnTo>
                  <a:lnTo>
                    <a:pt x="2959" y="22939"/>
                  </a:lnTo>
                  <a:lnTo>
                    <a:pt x="2959"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5" name="Google Shape;215;p3"/>
            <p:cNvSpPr/>
            <p:nvPr/>
          </p:nvSpPr>
          <p:spPr>
            <a:xfrm>
              <a:off x="8615360" y="4295168"/>
              <a:ext cx="94688" cy="848320"/>
            </a:xfrm>
            <a:custGeom>
              <a:avLst/>
              <a:gdLst/>
              <a:ahLst/>
              <a:cxnLst/>
              <a:rect l="l" t="t" r="r" b="b"/>
              <a:pathLst>
                <a:path w="2959" h="26510" extrusionOk="0">
                  <a:moveTo>
                    <a:pt x="0" y="0"/>
                  </a:moveTo>
                  <a:lnTo>
                    <a:pt x="0" y="26510"/>
                  </a:lnTo>
                  <a:lnTo>
                    <a:pt x="2958" y="26510"/>
                  </a:lnTo>
                  <a:lnTo>
                    <a:pt x="2958"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6" name="Google Shape;216;p3"/>
            <p:cNvSpPr/>
            <p:nvPr/>
          </p:nvSpPr>
          <p:spPr>
            <a:xfrm>
              <a:off x="9029696" y="4409440"/>
              <a:ext cx="92896" cy="734048"/>
            </a:xfrm>
            <a:custGeom>
              <a:avLst/>
              <a:gdLst/>
              <a:ahLst/>
              <a:cxnLst/>
              <a:rect l="l" t="t" r="r" b="b"/>
              <a:pathLst>
                <a:path w="2903" h="22939" extrusionOk="0">
                  <a:moveTo>
                    <a:pt x="0" y="1"/>
                  </a:moveTo>
                  <a:lnTo>
                    <a:pt x="0" y="22939"/>
                  </a:lnTo>
                  <a:lnTo>
                    <a:pt x="2902" y="22939"/>
                  </a:lnTo>
                  <a:lnTo>
                    <a:pt x="2902" y="1"/>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217" name="Google Shape;217;p3"/>
            <p:cNvSpPr/>
            <p:nvPr/>
          </p:nvSpPr>
          <p:spPr>
            <a:xfrm>
              <a:off x="8893952" y="4180864"/>
              <a:ext cx="92896" cy="962624"/>
            </a:xfrm>
            <a:custGeom>
              <a:avLst/>
              <a:gdLst/>
              <a:ahLst/>
              <a:cxnLst/>
              <a:rect l="l" t="t" r="r" b="b"/>
              <a:pathLst>
                <a:path w="2903" h="30082" extrusionOk="0">
                  <a:moveTo>
                    <a:pt x="1" y="0"/>
                  </a:moveTo>
                  <a:lnTo>
                    <a:pt x="1" y="30082"/>
                  </a:lnTo>
                  <a:lnTo>
                    <a:pt x="2903" y="30082"/>
                  </a:lnTo>
                  <a:lnTo>
                    <a:pt x="2903" y="0"/>
                  </a:lnTo>
                  <a:close/>
                </a:path>
              </a:pathLst>
            </a:custGeom>
            <a:solidFill>
              <a:srgbClr val="00041C">
                <a:alpha val="1846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p:cSld name="TITLE_1_1">
    <p:spTree>
      <p:nvGrpSpPr>
        <p:cNvPr id="1" name="Shape 218"/>
        <p:cNvGrpSpPr/>
        <p:nvPr/>
      </p:nvGrpSpPr>
      <p:grpSpPr>
        <a:xfrm>
          <a:off x="0" y="0"/>
          <a:ext cx="0" cy="0"/>
          <a:chOff x="0" y="0"/>
          <a:chExt cx="0" cy="0"/>
        </a:xfrm>
      </p:grpSpPr>
      <p:sp>
        <p:nvSpPr>
          <p:cNvPr id="219" name="Google Shape;219;p4"/>
          <p:cNvSpPr/>
          <p:nvPr/>
        </p:nvSpPr>
        <p:spPr>
          <a:xfrm rot="10800000" flipH="1">
            <a:off x="-25" y="1439200"/>
            <a:ext cx="9144000" cy="5418800"/>
          </a:xfrm>
          <a:prstGeom prst="rect">
            <a:avLst/>
          </a:prstGeom>
          <a:solidFill>
            <a:srgbClr val="00041C">
              <a:alpha val="1846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220" name="Google Shape;220;p4"/>
          <p:cNvSpPr txBox="1">
            <a:spLocks noGrp="1"/>
          </p:cNvSpPr>
          <p:nvPr>
            <p:ph type="body" idx="1"/>
          </p:nvPr>
        </p:nvSpPr>
        <p:spPr>
          <a:xfrm>
            <a:off x="1669850" y="2476000"/>
            <a:ext cx="5804400" cy="3655600"/>
          </a:xfrm>
          <a:prstGeom prst="rect">
            <a:avLst/>
          </a:prstGeom>
        </p:spPr>
        <p:txBody>
          <a:bodyPr spcFirstLastPara="1" wrap="square" lIns="91425" tIns="91425" rIns="91425" bIns="91425" anchor="t" anchorCtr="0">
            <a:noAutofit/>
          </a:bodyPr>
          <a:lstStyle>
            <a:lvl1pPr marL="609585" lvl="0" indent="-558786" algn="ctr" rtl="0">
              <a:spcBef>
                <a:spcPts val="80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1pPr>
            <a:lvl2pPr marL="1219170" lvl="1" indent="-558786" algn="ctr" rtl="0">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2pPr>
            <a:lvl3pPr marL="1828754" lvl="2" indent="-558786" algn="ctr" rtl="0">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3pPr>
            <a:lvl4pPr marL="2438339" lvl="3" indent="-558786" algn="ctr" rtl="0">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4pPr>
            <a:lvl5pPr marL="3047924" lvl="4" indent="-558786" algn="ctr" rtl="0">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5pPr>
            <a:lvl6pPr marL="3657509" lvl="5" indent="-558786" algn="ctr" rtl="0">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6pPr>
            <a:lvl7pPr marL="4267093" lvl="6" indent="-558786" algn="ctr" rtl="0">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7pPr>
            <a:lvl8pPr marL="4876678" lvl="7" indent="-558786" algn="ctr" rtl="0">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8pPr>
            <a:lvl9pPr marL="5486263" lvl="8" indent="-558786" algn="ctr">
              <a:spcBef>
                <a:spcPts val="0"/>
              </a:spcBef>
              <a:spcAft>
                <a:spcPts val="0"/>
              </a:spcAft>
              <a:buSzPts val="3000"/>
              <a:buFont typeface="Titillium Web ExtraLight"/>
              <a:buChar char="■"/>
              <a:defRPr sz="4000">
                <a:latin typeface="Titillium Web ExtraLight"/>
                <a:ea typeface="Titillium Web ExtraLight"/>
                <a:cs typeface="Titillium Web ExtraLight"/>
                <a:sym typeface="Titillium Web ExtraLight"/>
              </a:defRPr>
            </a:lvl9pPr>
          </a:lstStyle>
          <a:p>
            <a:endParaRPr/>
          </a:p>
        </p:txBody>
      </p:sp>
      <p:sp>
        <p:nvSpPr>
          <p:cNvPr id="221" name="Google Shape;221;p4"/>
          <p:cNvSpPr txBox="1">
            <a:spLocks noGrp="1"/>
          </p:cNvSpPr>
          <p:nvPr>
            <p:ph type="sldNum" idx="12"/>
          </p:nvPr>
        </p:nvSpPr>
        <p:spPr>
          <a:xfrm>
            <a:off x="8586575" y="-15833"/>
            <a:ext cx="557400" cy="7304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
        <p:nvSpPr>
          <p:cNvPr id="222" name="Google Shape;222;p4"/>
          <p:cNvSpPr/>
          <p:nvPr/>
        </p:nvSpPr>
        <p:spPr>
          <a:xfrm>
            <a:off x="0" y="534917"/>
            <a:ext cx="9144000" cy="1724075"/>
          </a:xfrm>
          <a:custGeom>
            <a:avLst/>
            <a:gdLst/>
            <a:ahLst/>
            <a:cxnLst/>
            <a:rect l="l" t="t" r="r" b="b"/>
            <a:pathLst>
              <a:path w="285750" h="40408" extrusionOk="0">
                <a:moveTo>
                  <a:pt x="160288" y="224"/>
                </a:moveTo>
                <a:lnTo>
                  <a:pt x="160455" y="279"/>
                </a:lnTo>
                <a:lnTo>
                  <a:pt x="160623" y="335"/>
                </a:lnTo>
                <a:lnTo>
                  <a:pt x="160679" y="503"/>
                </a:lnTo>
                <a:lnTo>
                  <a:pt x="160734" y="670"/>
                </a:lnTo>
                <a:lnTo>
                  <a:pt x="160679" y="838"/>
                </a:lnTo>
                <a:lnTo>
                  <a:pt x="160623" y="1005"/>
                </a:lnTo>
                <a:lnTo>
                  <a:pt x="160455" y="1061"/>
                </a:lnTo>
                <a:lnTo>
                  <a:pt x="160288" y="1117"/>
                </a:lnTo>
                <a:lnTo>
                  <a:pt x="160120" y="1061"/>
                </a:lnTo>
                <a:lnTo>
                  <a:pt x="159953" y="1005"/>
                </a:lnTo>
                <a:lnTo>
                  <a:pt x="159897" y="838"/>
                </a:lnTo>
                <a:lnTo>
                  <a:pt x="159841" y="670"/>
                </a:lnTo>
                <a:lnTo>
                  <a:pt x="159897" y="503"/>
                </a:lnTo>
                <a:lnTo>
                  <a:pt x="159953" y="335"/>
                </a:lnTo>
                <a:lnTo>
                  <a:pt x="160120" y="279"/>
                </a:lnTo>
                <a:lnTo>
                  <a:pt x="160288" y="224"/>
                </a:lnTo>
                <a:close/>
                <a:moveTo>
                  <a:pt x="264319" y="670"/>
                </a:moveTo>
                <a:lnTo>
                  <a:pt x="264486" y="726"/>
                </a:lnTo>
                <a:lnTo>
                  <a:pt x="264654" y="782"/>
                </a:lnTo>
                <a:lnTo>
                  <a:pt x="264709" y="949"/>
                </a:lnTo>
                <a:lnTo>
                  <a:pt x="264765" y="1117"/>
                </a:lnTo>
                <a:lnTo>
                  <a:pt x="264709" y="1284"/>
                </a:lnTo>
                <a:lnTo>
                  <a:pt x="264654" y="1451"/>
                </a:lnTo>
                <a:lnTo>
                  <a:pt x="264486" y="1507"/>
                </a:lnTo>
                <a:lnTo>
                  <a:pt x="264319" y="1563"/>
                </a:lnTo>
                <a:lnTo>
                  <a:pt x="264151" y="1507"/>
                </a:lnTo>
                <a:lnTo>
                  <a:pt x="263984" y="1451"/>
                </a:lnTo>
                <a:lnTo>
                  <a:pt x="263928" y="1284"/>
                </a:lnTo>
                <a:lnTo>
                  <a:pt x="263872" y="1117"/>
                </a:lnTo>
                <a:lnTo>
                  <a:pt x="263928" y="949"/>
                </a:lnTo>
                <a:lnTo>
                  <a:pt x="263984" y="782"/>
                </a:lnTo>
                <a:lnTo>
                  <a:pt x="264151" y="726"/>
                </a:lnTo>
                <a:lnTo>
                  <a:pt x="264319" y="670"/>
                </a:lnTo>
                <a:close/>
                <a:moveTo>
                  <a:pt x="281508" y="2902"/>
                </a:moveTo>
                <a:lnTo>
                  <a:pt x="281676" y="2958"/>
                </a:lnTo>
                <a:lnTo>
                  <a:pt x="281843" y="3014"/>
                </a:lnTo>
                <a:lnTo>
                  <a:pt x="281899" y="3182"/>
                </a:lnTo>
                <a:lnTo>
                  <a:pt x="281955" y="3349"/>
                </a:lnTo>
                <a:lnTo>
                  <a:pt x="281899" y="3516"/>
                </a:lnTo>
                <a:lnTo>
                  <a:pt x="281843" y="3684"/>
                </a:lnTo>
                <a:lnTo>
                  <a:pt x="281676" y="3740"/>
                </a:lnTo>
                <a:lnTo>
                  <a:pt x="281508" y="3795"/>
                </a:lnTo>
                <a:lnTo>
                  <a:pt x="281341" y="3740"/>
                </a:lnTo>
                <a:lnTo>
                  <a:pt x="281174" y="3684"/>
                </a:lnTo>
                <a:lnTo>
                  <a:pt x="281118" y="3516"/>
                </a:lnTo>
                <a:lnTo>
                  <a:pt x="281062" y="3349"/>
                </a:lnTo>
                <a:lnTo>
                  <a:pt x="281118" y="3182"/>
                </a:lnTo>
                <a:lnTo>
                  <a:pt x="281174" y="3014"/>
                </a:lnTo>
                <a:lnTo>
                  <a:pt x="281341" y="2958"/>
                </a:lnTo>
                <a:lnTo>
                  <a:pt x="281508" y="2902"/>
                </a:lnTo>
                <a:close/>
                <a:moveTo>
                  <a:pt x="177701" y="6251"/>
                </a:moveTo>
                <a:lnTo>
                  <a:pt x="177868" y="6307"/>
                </a:lnTo>
                <a:lnTo>
                  <a:pt x="178036" y="6363"/>
                </a:lnTo>
                <a:lnTo>
                  <a:pt x="178091" y="6530"/>
                </a:lnTo>
                <a:lnTo>
                  <a:pt x="178147" y="6698"/>
                </a:lnTo>
                <a:lnTo>
                  <a:pt x="178091" y="6865"/>
                </a:lnTo>
                <a:lnTo>
                  <a:pt x="178036" y="7032"/>
                </a:lnTo>
                <a:lnTo>
                  <a:pt x="177868" y="7088"/>
                </a:lnTo>
                <a:lnTo>
                  <a:pt x="177701" y="7144"/>
                </a:lnTo>
                <a:lnTo>
                  <a:pt x="177533" y="7088"/>
                </a:lnTo>
                <a:lnTo>
                  <a:pt x="177366" y="7032"/>
                </a:lnTo>
                <a:lnTo>
                  <a:pt x="177310" y="6865"/>
                </a:lnTo>
                <a:lnTo>
                  <a:pt x="177254" y="6698"/>
                </a:lnTo>
                <a:lnTo>
                  <a:pt x="177310" y="6530"/>
                </a:lnTo>
                <a:lnTo>
                  <a:pt x="177366" y="6363"/>
                </a:lnTo>
                <a:lnTo>
                  <a:pt x="177533" y="6307"/>
                </a:lnTo>
                <a:lnTo>
                  <a:pt x="177701" y="6251"/>
                </a:lnTo>
                <a:close/>
                <a:moveTo>
                  <a:pt x="90860" y="12055"/>
                </a:moveTo>
                <a:lnTo>
                  <a:pt x="91027" y="12111"/>
                </a:lnTo>
                <a:lnTo>
                  <a:pt x="91194" y="12167"/>
                </a:lnTo>
                <a:lnTo>
                  <a:pt x="91250" y="12334"/>
                </a:lnTo>
                <a:lnTo>
                  <a:pt x="91306" y="12502"/>
                </a:lnTo>
                <a:lnTo>
                  <a:pt x="91250" y="12669"/>
                </a:lnTo>
                <a:lnTo>
                  <a:pt x="91194" y="12837"/>
                </a:lnTo>
                <a:lnTo>
                  <a:pt x="91027" y="12893"/>
                </a:lnTo>
                <a:lnTo>
                  <a:pt x="90860" y="12948"/>
                </a:lnTo>
                <a:lnTo>
                  <a:pt x="90692" y="12893"/>
                </a:lnTo>
                <a:lnTo>
                  <a:pt x="90525" y="12837"/>
                </a:lnTo>
                <a:lnTo>
                  <a:pt x="90469" y="12669"/>
                </a:lnTo>
                <a:lnTo>
                  <a:pt x="90413" y="12502"/>
                </a:lnTo>
                <a:lnTo>
                  <a:pt x="90469" y="12334"/>
                </a:lnTo>
                <a:lnTo>
                  <a:pt x="90525" y="12167"/>
                </a:lnTo>
                <a:lnTo>
                  <a:pt x="90692" y="12111"/>
                </a:lnTo>
                <a:lnTo>
                  <a:pt x="90860" y="12055"/>
                </a:lnTo>
                <a:close/>
                <a:moveTo>
                  <a:pt x="246683" y="15404"/>
                </a:moveTo>
                <a:lnTo>
                  <a:pt x="246850" y="15460"/>
                </a:lnTo>
                <a:lnTo>
                  <a:pt x="247017" y="15516"/>
                </a:lnTo>
                <a:lnTo>
                  <a:pt x="247073" y="15683"/>
                </a:lnTo>
                <a:lnTo>
                  <a:pt x="247129" y="15851"/>
                </a:lnTo>
                <a:lnTo>
                  <a:pt x="247073" y="16018"/>
                </a:lnTo>
                <a:lnTo>
                  <a:pt x="247017" y="16185"/>
                </a:lnTo>
                <a:lnTo>
                  <a:pt x="246850" y="16241"/>
                </a:lnTo>
                <a:lnTo>
                  <a:pt x="246683" y="16297"/>
                </a:lnTo>
                <a:lnTo>
                  <a:pt x="246515" y="16241"/>
                </a:lnTo>
                <a:lnTo>
                  <a:pt x="246348" y="16185"/>
                </a:lnTo>
                <a:lnTo>
                  <a:pt x="246292" y="16018"/>
                </a:lnTo>
                <a:lnTo>
                  <a:pt x="246236" y="15851"/>
                </a:lnTo>
                <a:lnTo>
                  <a:pt x="246292" y="15683"/>
                </a:lnTo>
                <a:lnTo>
                  <a:pt x="246348" y="15516"/>
                </a:lnTo>
                <a:lnTo>
                  <a:pt x="246515" y="15460"/>
                </a:lnTo>
                <a:lnTo>
                  <a:pt x="246683" y="15404"/>
                </a:lnTo>
                <a:close/>
                <a:moveTo>
                  <a:pt x="142875" y="15627"/>
                </a:moveTo>
                <a:lnTo>
                  <a:pt x="143042" y="15683"/>
                </a:lnTo>
                <a:lnTo>
                  <a:pt x="143210" y="15739"/>
                </a:lnTo>
                <a:lnTo>
                  <a:pt x="143266" y="15906"/>
                </a:lnTo>
                <a:lnTo>
                  <a:pt x="143321" y="16074"/>
                </a:lnTo>
                <a:lnTo>
                  <a:pt x="143266" y="16241"/>
                </a:lnTo>
                <a:lnTo>
                  <a:pt x="143210" y="16409"/>
                </a:lnTo>
                <a:lnTo>
                  <a:pt x="143042" y="16464"/>
                </a:lnTo>
                <a:lnTo>
                  <a:pt x="142875" y="16520"/>
                </a:lnTo>
                <a:lnTo>
                  <a:pt x="142708" y="16464"/>
                </a:lnTo>
                <a:lnTo>
                  <a:pt x="142540" y="16409"/>
                </a:lnTo>
                <a:lnTo>
                  <a:pt x="142484" y="16241"/>
                </a:lnTo>
                <a:lnTo>
                  <a:pt x="142429" y="16074"/>
                </a:lnTo>
                <a:lnTo>
                  <a:pt x="142484" y="15906"/>
                </a:lnTo>
                <a:lnTo>
                  <a:pt x="142540" y="15739"/>
                </a:lnTo>
                <a:lnTo>
                  <a:pt x="142708" y="15683"/>
                </a:lnTo>
                <a:lnTo>
                  <a:pt x="142875" y="15627"/>
                </a:lnTo>
                <a:close/>
                <a:moveTo>
                  <a:pt x="125685" y="17413"/>
                </a:moveTo>
                <a:lnTo>
                  <a:pt x="125853" y="17469"/>
                </a:lnTo>
                <a:lnTo>
                  <a:pt x="126020" y="17525"/>
                </a:lnTo>
                <a:lnTo>
                  <a:pt x="126076" y="17692"/>
                </a:lnTo>
                <a:lnTo>
                  <a:pt x="126132" y="17860"/>
                </a:lnTo>
                <a:lnTo>
                  <a:pt x="126076" y="18027"/>
                </a:lnTo>
                <a:lnTo>
                  <a:pt x="126020" y="18195"/>
                </a:lnTo>
                <a:lnTo>
                  <a:pt x="125853" y="18250"/>
                </a:lnTo>
                <a:lnTo>
                  <a:pt x="125685" y="18306"/>
                </a:lnTo>
                <a:lnTo>
                  <a:pt x="125518" y="18250"/>
                </a:lnTo>
                <a:lnTo>
                  <a:pt x="125350" y="18195"/>
                </a:lnTo>
                <a:lnTo>
                  <a:pt x="125295" y="18027"/>
                </a:lnTo>
                <a:lnTo>
                  <a:pt x="125239" y="17860"/>
                </a:lnTo>
                <a:lnTo>
                  <a:pt x="125295" y="17692"/>
                </a:lnTo>
                <a:lnTo>
                  <a:pt x="125350" y="17525"/>
                </a:lnTo>
                <a:lnTo>
                  <a:pt x="125518" y="17469"/>
                </a:lnTo>
                <a:lnTo>
                  <a:pt x="125685" y="17413"/>
                </a:lnTo>
                <a:close/>
                <a:moveTo>
                  <a:pt x="73670" y="17636"/>
                </a:moveTo>
                <a:lnTo>
                  <a:pt x="73837" y="17692"/>
                </a:lnTo>
                <a:lnTo>
                  <a:pt x="74005" y="17748"/>
                </a:lnTo>
                <a:lnTo>
                  <a:pt x="74061" y="17915"/>
                </a:lnTo>
                <a:lnTo>
                  <a:pt x="74116" y="18083"/>
                </a:lnTo>
                <a:lnTo>
                  <a:pt x="74061" y="18250"/>
                </a:lnTo>
                <a:lnTo>
                  <a:pt x="74005" y="18418"/>
                </a:lnTo>
                <a:lnTo>
                  <a:pt x="73837" y="18474"/>
                </a:lnTo>
                <a:lnTo>
                  <a:pt x="73670" y="18529"/>
                </a:lnTo>
                <a:lnTo>
                  <a:pt x="73502" y="18474"/>
                </a:lnTo>
                <a:lnTo>
                  <a:pt x="73335" y="18418"/>
                </a:lnTo>
                <a:lnTo>
                  <a:pt x="73279" y="18250"/>
                </a:lnTo>
                <a:lnTo>
                  <a:pt x="73223" y="18083"/>
                </a:lnTo>
                <a:lnTo>
                  <a:pt x="73279" y="17915"/>
                </a:lnTo>
                <a:lnTo>
                  <a:pt x="73335" y="17748"/>
                </a:lnTo>
                <a:lnTo>
                  <a:pt x="73502" y="17692"/>
                </a:lnTo>
                <a:lnTo>
                  <a:pt x="73670" y="17636"/>
                </a:lnTo>
                <a:close/>
                <a:moveTo>
                  <a:pt x="21543" y="17971"/>
                </a:moveTo>
                <a:lnTo>
                  <a:pt x="21710" y="18027"/>
                </a:lnTo>
                <a:lnTo>
                  <a:pt x="21878" y="18083"/>
                </a:lnTo>
                <a:lnTo>
                  <a:pt x="21934" y="18250"/>
                </a:lnTo>
                <a:lnTo>
                  <a:pt x="21989" y="18418"/>
                </a:lnTo>
                <a:lnTo>
                  <a:pt x="21934" y="18585"/>
                </a:lnTo>
                <a:lnTo>
                  <a:pt x="21878" y="18753"/>
                </a:lnTo>
                <a:lnTo>
                  <a:pt x="21710" y="18808"/>
                </a:lnTo>
                <a:lnTo>
                  <a:pt x="21543" y="18864"/>
                </a:lnTo>
                <a:lnTo>
                  <a:pt x="21375" y="18808"/>
                </a:lnTo>
                <a:lnTo>
                  <a:pt x="21208" y="18753"/>
                </a:lnTo>
                <a:lnTo>
                  <a:pt x="21152" y="18585"/>
                </a:lnTo>
                <a:lnTo>
                  <a:pt x="21096" y="18418"/>
                </a:lnTo>
                <a:lnTo>
                  <a:pt x="21152" y="18250"/>
                </a:lnTo>
                <a:lnTo>
                  <a:pt x="21208" y="18083"/>
                </a:lnTo>
                <a:lnTo>
                  <a:pt x="21375" y="18027"/>
                </a:lnTo>
                <a:lnTo>
                  <a:pt x="21543" y="17971"/>
                </a:lnTo>
                <a:close/>
                <a:moveTo>
                  <a:pt x="229716" y="22101"/>
                </a:moveTo>
                <a:lnTo>
                  <a:pt x="229884" y="22157"/>
                </a:lnTo>
                <a:lnTo>
                  <a:pt x="230051" y="22213"/>
                </a:lnTo>
                <a:lnTo>
                  <a:pt x="230107" y="22380"/>
                </a:lnTo>
                <a:lnTo>
                  <a:pt x="230163" y="22548"/>
                </a:lnTo>
                <a:lnTo>
                  <a:pt x="230107" y="22715"/>
                </a:lnTo>
                <a:lnTo>
                  <a:pt x="230051" y="22883"/>
                </a:lnTo>
                <a:lnTo>
                  <a:pt x="229884" y="22938"/>
                </a:lnTo>
                <a:lnTo>
                  <a:pt x="229716" y="22994"/>
                </a:lnTo>
                <a:lnTo>
                  <a:pt x="229549" y="22938"/>
                </a:lnTo>
                <a:lnTo>
                  <a:pt x="229381" y="22883"/>
                </a:lnTo>
                <a:lnTo>
                  <a:pt x="229326" y="22715"/>
                </a:lnTo>
                <a:lnTo>
                  <a:pt x="229270" y="22548"/>
                </a:lnTo>
                <a:lnTo>
                  <a:pt x="229326" y="22380"/>
                </a:lnTo>
                <a:lnTo>
                  <a:pt x="229381" y="22213"/>
                </a:lnTo>
                <a:lnTo>
                  <a:pt x="229549" y="22157"/>
                </a:lnTo>
                <a:lnTo>
                  <a:pt x="229716" y="22101"/>
                </a:lnTo>
                <a:close/>
                <a:moveTo>
                  <a:pt x="194890" y="25450"/>
                </a:moveTo>
                <a:lnTo>
                  <a:pt x="195058" y="25506"/>
                </a:lnTo>
                <a:lnTo>
                  <a:pt x="195225" y="25562"/>
                </a:lnTo>
                <a:lnTo>
                  <a:pt x="195281" y="25729"/>
                </a:lnTo>
                <a:lnTo>
                  <a:pt x="195337" y="25896"/>
                </a:lnTo>
                <a:lnTo>
                  <a:pt x="195281" y="26064"/>
                </a:lnTo>
                <a:lnTo>
                  <a:pt x="195225" y="26231"/>
                </a:lnTo>
                <a:lnTo>
                  <a:pt x="195058" y="26287"/>
                </a:lnTo>
                <a:lnTo>
                  <a:pt x="194890" y="26343"/>
                </a:lnTo>
                <a:lnTo>
                  <a:pt x="194723" y="26287"/>
                </a:lnTo>
                <a:lnTo>
                  <a:pt x="194556" y="26231"/>
                </a:lnTo>
                <a:lnTo>
                  <a:pt x="194500" y="26064"/>
                </a:lnTo>
                <a:lnTo>
                  <a:pt x="194444" y="25896"/>
                </a:lnTo>
                <a:lnTo>
                  <a:pt x="194500" y="25729"/>
                </a:lnTo>
                <a:lnTo>
                  <a:pt x="194556" y="25562"/>
                </a:lnTo>
                <a:lnTo>
                  <a:pt x="194723" y="25506"/>
                </a:lnTo>
                <a:lnTo>
                  <a:pt x="194890" y="25450"/>
                </a:lnTo>
                <a:close/>
                <a:moveTo>
                  <a:pt x="4465" y="26789"/>
                </a:moveTo>
                <a:lnTo>
                  <a:pt x="4632" y="26845"/>
                </a:lnTo>
                <a:lnTo>
                  <a:pt x="4800" y="26901"/>
                </a:lnTo>
                <a:lnTo>
                  <a:pt x="4856" y="27068"/>
                </a:lnTo>
                <a:lnTo>
                  <a:pt x="4911" y="27236"/>
                </a:lnTo>
                <a:lnTo>
                  <a:pt x="4856" y="27403"/>
                </a:lnTo>
                <a:lnTo>
                  <a:pt x="4800" y="27571"/>
                </a:lnTo>
                <a:lnTo>
                  <a:pt x="4632" y="27627"/>
                </a:lnTo>
                <a:lnTo>
                  <a:pt x="4465" y="27682"/>
                </a:lnTo>
                <a:lnTo>
                  <a:pt x="4297" y="27627"/>
                </a:lnTo>
                <a:lnTo>
                  <a:pt x="4130" y="27571"/>
                </a:lnTo>
                <a:lnTo>
                  <a:pt x="4074" y="27403"/>
                </a:lnTo>
                <a:lnTo>
                  <a:pt x="4018" y="27236"/>
                </a:lnTo>
                <a:lnTo>
                  <a:pt x="4074" y="27068"/>
                </a:lnTo>
                <a:lnTo>
                  <a:pt x="4130" y="26901"/>
                </a:lnTo>
                <a:lnTo>
                  <a:pt x="4297" y="26845"/>
                </a:lnTo>
                <a:lnTo>
                  <a:pt x="4465" y="26789"/>
                </a:lnTo>
                <a:close/>
                <a:moveTo>
                  <a:pt x="108272" y="29915"/>
                </a:moveTo>
                <a:lnTo>
                  <a:pt x="108440" y="29971"/>
                </a:lnTo>
                <a:lnTo>
                  <a:pt x="108607" y="30026"/>
                </a:lnTo>
                <a:lnTo>
                  <a:pt x="108663" y="30194"/>
                </a:lnTo>
                <a:lnTo>
                  <a:pt x="108719" y="30361"/>
                </a:lnTo>
                <a:lnTo>
                  <a:pt x="108663" y="30529"/>
                </a:lnTo>
                <a:lnTo>
                  <a:pt x="108607" y="30696"/>
                </a:lnTo>
                <a:lnTo>
                  <a:pt x="108440" y="30752"/>
                </a:lnTo>
                <a:lnTo>
                  <a:pt x="108272" y="30808"/>
                </a:lnTo>
                <a:lnTo>
                  <a:pt x="108105" y="30752"/>
                </a:lnTo>
                <a:lnTo>
                  <a:pt x="107938" y="30696"/>
                </a:lnTo>
                <a:lnTo>
                  <a:pt x="107882" y="30529"/>
                </a:lnTo>
                <a:lnTo>
                  <a:pt x="107826" y="30361"/>
                </a:lnTo>
                <a:lnTo>
                  <a:pt x="107882" y="30194"/>
                </a:lnTo>
                <a:lnTo>
                  <a:pt x="107938" y="30026"/>
                </a:lnTo>
                <a:lnTo>
                  <a:pt x="108105" y="29971"/>
                </a:lnTo>
                <a:lnTo>
                  <a:pt x="108272" y="29915"/>
                </a:lnTo>
                <a:close/>
                <a:moveTo>
                  <a:pt x="212080" y="32147"/>
                </a:moveTo>
                <a:lnTo>
                  <a:pt x="212248" y="32203"/>
                </a:lnTo>
                <a:lnTo>
                  <a:pt x="212415" y="32259"/>
                </a:lnTo>
                <a:lnTo>
                  <a:pt x="212471" y="32426"/>
                </a:lnTo>
                <a:lnTo>
                  <a:pt x="212527" y="32594"/>
                </a:lnTo>
                <a:lnTo>
                  <a:pt x="212471" y="32761"/>
                </a:lnTo>
                <a:lnTo>
                  <a:pt x="212415" y="32928"/>
                </a:lnTo>
                <a:lnTo>
                  <a:pt x="212248" y="32984"/>
                </a:lnTo>
                <a:lnTo>
                  <a:pt x="212080" y="33040"/>
                </a:lnTo>
                <a:lnTo>
                  <a:pt x="211913" y="32984"/>
                </a:lnTo>
                <a:lnTo>
                  <a:pt x="211745" y="32928"/>
                </a:lnTo>
                <a:lnTo>
                  <a:pt x="211689" y="32761"/>
                </a:lnTo>
                <a:lnTo>
                  <a:pt x="211634" y="32594"/>
                </a:lnTo>
                <a:lnTo>
                  <a:pt x="211689" y="32426"/>
                </a:lnTo>
                <a:lnTo>
                  <a:pt x="211745" y="32259"/>
                </a:lnTo>
                <a:lnTo>
                  <a:pt x="211913" y="32203"/>
                </a:lnTo>
                <a:lnTo>
                  <a:pt x="212080" y="32147"/>
                </a:lnTo>
                <a:close/>
                <a:moveTo>
                  <a:pt x="56257" y="36389"/>
                </a:moveTo>
                <a:lnTo>
                  <a:pt x="56424" y="36445"/>
                </a:lnTo>
                <a:lnTo>
                  <a:pt x="56592" y="36500"/>
                </a:lnTo>
                <a:lnTo>
                  <a:pt x="56648" y="36668"/>
                </a:lnTo>
                <a:lnTo>
                  <a:pt x="56704" y="36835"/>
                </a:lnTo>
                <a:lnTo>
                  <a:pt x="56648" y="37003"/>
                </a:lnTo>
                <a:lnTo>
                  <a:pt x="56592" y="37170"/>
                </a:lnTo>
                <a:lnTo>
                  <a:pt x="56424" y="37226"/>
                </a:lnTo>
                <a:lnTo>
                  <a:pt x="56257" y="37282"/>
                </a:lnTo>
                <a:lnTo>
                  <a:pt x="56090" y="37226"/>
                </a:lnTo>
                <a:lnTo>
                  <a:pt x="55922" y="37170"/>
                </a:lnTo>
                <a:lnTo>
                  <a:pt x="55866" y="37003"/>
                </a:lnTo>
                <a:lnTo>
                  <a:pt x="55811" y="36835"/>
                </a:lnTo>
                <a:lnTo>
                  <a:pt x="55866" y="36668"/>
                </a:lnTo>
                <a:lnTo>
                  <a:pt x="55922" y="36500"/>
                </a:lnTo>
                <a:lnTo>
                  <a:pt x="56090" y="36445"/>
                </a:lnTo>
                <a:lnTo>
                  <a:pt x="56257" y="36389"/>
                </a:lnTo>
                <a:close/>
                <a:moveTo>
                  <a:pt x="39067" y="39291"/>
                </a:moveTo>
                <a:lnTo>
                  <a:pt x="39235" y="39347"/>
                </a:lnTo>
                <a:lnTo>
                  <a:pt x="39402" y="39403"/>
                </a:lnTo>
                <a:lnTo>
                  <a:pt x="39458" y="39570"/>
                </a:lnTo>
                <a:lnTo>
                  <a:pt x="39514" y="39737"/>
                </a:lnTo>
                <a:lnTo>
                  <a:pt x="39458" y="39905"/>
                </a:lnTo>
                <a:lnTo>
                  <a:pt x="39402" y="40072"/>
                </a:lnTo>
                <a:lnTo>
                  <a:pt x="39235" y="40128"/>
                </a:lnTo>
                <a:lnTo>
                  <a:pt x="39067" y="40184"/>
                </a:lnTo>
                <a:lnTo>
                  <a:pt x="38900" y="40128"/>
                </a:lnTo>
                <a:lnTo>
                  <a:pt x="38733" y="40072"/>
                </a:lnTo>
                <a:lnTo>
                  <a:pt x="38677" y="39905"/>
                </a:lnTo>
                <a:lnTo>
                  <a:pt x="38621" y="39737"/>
                </a:lnTo>
                <a:lnTo>
                  <a:pt x="38677" y="39570"/>
                </a:lnTo>
                <a:lnTo>
                  <a:pt x="38733" y="39403"/>
                </a:lnTo>
                <a:lnTo>
                  <a:pt x="38900" y="39347"/>
                </a:lnTo>
                <a:lnTo>
                  <a:pt x="39067" y="39291"/>
                </a:lnTo>
                <a:close/>
                <a:moveTo>
                  <a:pt x="160288" y="0"/>
                </a:moveTo>
                <a:lnTo>
                  <a:pt x="160009" y="56"/>
                </a:lnTo>
                <a:lnTo>
                  <a:pt x="159841" y="224"/>
                </a:lnTo>
                <a:lnTo>
                  <a:pt x="159674" y="391"/>
                </a:lnTo>
                <a:lnTo>
                  <a:pt x="159618" y="670"/>
                </a:lnTo>
                <a:lnTo>
                  <a:pt x="159674" y="893"/>
                </a:lnTo>
                <a:lnTo>
                  <a:pt x="143266" y="15571"/>
                </a:lnTo>
                <a:lnTo>
                  <a:pt x="143098" y="15460"/>
                </a:lnTo>
                <a:lnTo>
                  <a:pt x="142875" y="15404"/>
                </a:lnTo>
                <a:lnTo>
                  <a:pt x="142652" y="15460"/>
                </a:lnTo>
                <a:lnTo>
                  <a:pt x="142429" y="15571"/>
                </a:lnTo>
                <a:lnTo>
                  <a:pt x="142317" y="15739"/>
                </a:lnTo>
                <a:lnTo>
                  <a:pt x="142205" y="15906"/>
                </a:lnTo>
                <a:lnTo>
                  <a:pt x="126299" y="17581"/>
                </a:lnTo>
                <a:lnTo>
                  <a:pt x="126188" y="17413"/>
                </a:lnTo>
                <a:lnTo>
                  <a:pt x="126020" y="17302"/>
                </a:lnTo>
                <a:lnTo>
                  <a:pt x="125853" y="17190"/>
                </a:lnTo>
                <a:lnTo>
                  <a:pt x="125685" y="17190"/>
                </a:lnTo>
                <a:lnTo>
                  <a:pt x="125406" y="17246"/>
                </a:lnTo>
                <a:lnTo>
                  <a:pt x="125239" y="17413"/>
                </a:lnTo>
                <a:lnTo>
                  <a:pt x="125071" y="17581"/>
                </a:lnTo>
                <a:lnTo>
                  <a:pt x="125016" y="17860"/>
                </a:lnTo>
                <a:lnTo>
                  <a:pt x="125016" y="18027"/>
                </a:lnTo>
                <a:lnTo>
                  <a:pt x="108775" y="29915"/>
                </a:lnTo>
                <a:lnTo>
                  <a:pt x="108552" y="29747"/>
                </a:lnTo>
                <a:lnTo>
                  <a:pt x="108272" y="29691"/>
                </a:lnTo>
                <a:lnTo>
                  <a:pt x="107993" y="29747"/>
                </a:lnTo>
                <a:lnTo>
                  <a:pt x="107770" y="29915"/>
                </a:lnTo>
                <a:lnTo>
                  <a:pt x="91473" y="12781"/>
                </a:lnTo>
                <a:lnTo>
                  <a:pt x="91529" y="12502"/>
                </a:lnTo>
                <a:lnTo>
                  <a:pt x="91473" y="12223"/>
                </a:lnTo>
                <a:lnTo>
                  <a:pt x="91306" y="12055"/>
                </a:lnTo>
                <a:lnTo>
                  <a:pt x="91139" y="11888"/>
                </a:lnTo>
                <a:lnTo>
                  <a:pt x="90860" y="11832"/>
                </a:lnTo>
                <a:lnTo>
                  <a:pt x="90581" y="11888"/>
                </a:lnTo>
                <a:lnTo>
                  <a:pt x="90413" y="12055"/>
                </a:lnTo>
                <a:lnTo>
                  <a:pt x="90246" y="12223"/>
                </a:lnTo>
                <a:lnTo>
                  <a:pt x="90190" y="12502"/>
                </a:lnTo>
                <a:lnTo>
                  <a:pt x="74172" y="17636"/>
                </a:lnTo>
                <a:lnTo>
                  <a:pt x="73949" y="17469"/>
                </a:lnTo>
                <a:lnTo>
                  <a:pt x="73837" y="17413"/>
                </a:lnTo>
                <a:lnTo>
                  <a:pt x="73670" y="17413"/>
                </a:lnTo>
                <a:lnTo>
                  <a:pt x="73391" y="17469"/>
                </a:lnTo>
                <a:lnTo>
                  <a:pt x="73223" y="17636"/>
                </a:lnTo>
                <a:lnTo>
                  <a:pt x="73056" y="17804"/>
                </a:lnTo>
                <a:lnTo>
                  <a:pt x="73000" y="18083"/>
                </a:lnTo>
                <a:lnTo>
                  <a:pt x="73056" y="18362"/>
                </a:lnTo>
                <a:lnTo>
                  <a:pt x="56759" y="36389"/>
                </a:lnTo>
                <a:lnTo>
                  <a:pt x="56536" y="36221"/>
                </a:lnTo>
                <a:lnTo>
                  <a:pt x="56257" y="36165"/>
                </a:lnTo>
                <a:lnTo>
                  <a:pt x="55978" y="36221"/>
                </a:lnTo>
                <a:lnTo>
                  <a:pt x="55811" y="36389"/>
                </a:lnTo>
                <a:lnTo>
                  <a:pt x="55643" y="36556"/>
                </a:lnTo>
                <a:lnTo>
                  <a:pt x="55587" y="36835"/>
                </a:lnTo>
                <a:lnTo>
                  <a:pt x="55587" y="36947"/>
                </a:lnTo>
                <a:lnTo>
                  <a:pt x="39737" y="39626"/>
                </a:lnTo>
                <a:lnTo>
                  <a:pt x="39737" y="39737"/>
                </a:lnTo>
                <a:lnTo>
                  <a:pt x="39681" y="39458"/>
                </a:lnTo>
                <a:lnTo>
                  <a:pt x="39514" y="39291"/>
                </a:lnTo>
                <a:lnTo>
                  <a:pt x="39346" y="39123"/>
                </a:lnTo>
                <a:lnTo>
                  <a:pt x="39067" y="39068"/>
                </a:lnTo>
                <a:lnTo>
                  <a:pt x="38844" y="39123"/>
                </a:lnTo>
                <a:lnTo>
                  <a:pt x="38621" y="39235"/>
                </a:lnTo>
                <a:lnTo>
                  <a:pt x="22045" y="18864"/>
                </a:lnTo>
                <a:lnTo>
                  <a:pt x="22157" y="18641"/>
                </a:lnTo>
                <a:lnTo>
                  <a:pt x="22213" y="18418"/>
                </a:lnTo>
                <a:lnTo>
                  <a:pt x="22157" y="18139"/>
                </a:lnTo>
                <a:lnTo>
                  <a:pt x="21989" y="17971"/>
                </a:lnTo>
                <a:lnTo>
                  <a:pt x="21822" y="17804"/>
                </a:lnTo>
                <a:lnTo>
                  <a:pt x="21543" y="17748"/>
                </a:lnTo>
                <a:lnTo>
                  <a:pt x="21264" y="17804"/>
                </a:lnTo>
                <a:lnTo>
                  <a:pt x="21096" y="17971"/>
                </a:lnTo>
                <a:lnTo>
                  <a:pt x="20929" y="18139"/>
                </a:lnTo>
                <a:lnTo>
                  <a:pt x="20873" y="18418"/>
                </a:lnTo>
                <a:lnTo>
                  <a:pt x="20929" y="18641"/>
                </a:lnTo>
                <a:lnTo>
                  <a:pt x="4967" y="26789"/>
                </a:lnTo>
                <a:lnTo>
                  <a:pt x="4744" y="26622"/>
                </a:lnTo>
                <a:lnTo>
                  <a:pt x="4465" y="26566"/>
                </a:lnTo>
                <a:lnTo>
                  <a:pt x="4242" y="26622"/>
                </a:lnTo>
                <a:lnTo>
                  <a:pt x="4018" y="26734"/>
                </a:lnTo>
                <a:lnTo>
                  <a:pt x="0" y="24948"/>
                </a:lnTo>
                <a:lnTo>
                  <a:pt x="0" y="25171"/>
                </a:lnTo>
                <a:lnTo>
                  <a:pt x="3851" y="26901"/>
                </a:lnTo>
                <a:lnTo>
                  <a:pt x="3795" y="27068"/>
                </a:lnTo>
                <a:lnTo>
                  <a:pt x="3795" y="27236"/>
                </a:lnTo>
                <a:lnTo>
                  <a:pt x="3851" y="27515"/>
                </a:lnTo>
                <a:lnTo>
                  <a:pt x="4018" y="27682"/>
                </a:lnTo>
                <a:lnTo>
                  <a:pt x="4186" y="27850"/>
                </a:lnTo>
                <a:lnTo>
                  <a:pt x="4465" y="27906"/>
                </a:lnTo>
                <a:lnTo>
                  <a:pt x="4744" y="27850"/>
                </a:lnTo>
                <a:lnTo>
                  <a:pt x="4911" y="27682"/>
                </a:lnTo>
                <a:lnTo>
                  <a:pt x="5079" y="27515"/>
                </a:lnTo>
                <a:lnTo>
                  <a:pt x="5135" y="27236"/>
                </a:lnTo>
                <a:lnTo>
                  <a:pt x="5079" y="27013"/>
                </a:lnTo>
                <a:lnTo>
                  <a:pt x="20985" y="18808"/>
                </a:lnTo>
                <a:lnTo>
                  <a:pt x="21096" y="18920"/>
                </a:lnTo>
                <a:lnTo>
                  <a:pt x="21264" y="19032"/>
                </a:lnTo>
                <a:lnTo>
                  <a:pt x="21375" y="19088"/>
                </a:lnTo>
                <a:lnTo>
                  <a:pt x="21710" y="19088"/>
                </a:lnTo>
                <a:lnTo>
                  <a:pt x="21878" y="18976"/>
                </a:lnTo>
                <a:lnTo>
                  <a:pt x="38453" y="39458"/>
                </a:lnTo>
                <a:lnTo>
                  <a:pt x="38398" y="39570"/>
                </a:lnTo>
                <a:lnTo>
                  <a:pt x="38398" y="39737"/>
                </a:lnTo>
                <a:lnTo>
                  <a:pt x="38453" y="40016"/>
                </a:lnTo>
                <a:lnTo>
                  <a:pt x="38621" y="40184"/>
                </a:lnTo>
                <a:lnTo>
                  <a:pt x="38788" y="40351"/>
                </a:lnTo>
                <a:lnTo>
                  <a:pt x="39067" y="40407"/>
                </a:lnTo>
                <a:lnTo>
                  <a:pt x="39291" y="40351"/>
                </a:lnTo>
                <a:lnTo>
                  <a:pt x="39514" y="40240"/>
                </a:lnTo>
                <a:lnTo>
                  <a:pt x="39625" y="40072"/>
                </a:lnTo>
                <a:lnTo>
                  <a:pt x="39737" y="39849"/>
                </a:lnTo>
                <a:lnTo>
                  <a:pt x="55699" y="37170"/>
                </a:lnTo>
                <a:lnTo>
                  <a:pt x="55811" y="37282"/>
                </a:lnTo>
                <a:lnTo>
                  <a:pt x="55922" y="37393"/>
                </a:lnTo>
                <a:lnTo>
                  <a:pt x="56090" y="37505"/>
                </a:lnTo>
                <a:lnTo>
                  <a:pt x="56257" y="37505"/>
                </a:lnTo>
                <a:lnTo>
                  <a:pt x="56536" y="37449"/>
                </a:lnTo>
                <a:lnTo>
                  <a:pt x="56704" y="37282"/>
                </a:lnTo>
                <a:lnTo>
                  <a:pt x="56871" y="37114"/>
                </a:lnTo>
                <a:lnTo>
                  <a:pt x="56927" y="36835"/>
                </a:lnTo>
                <a:lnTo>
                  <a:pt x="56871" y="36556"/>
                </a:lnTo>
                <a:lnTo>
                  <a:pt x="73168" y="18529"/>
                </a:lnTo>
                <a:lnTo>
                  <a:pt x="73391" y="18697"/>
                </a:lnTo>
                <a:lnTo>
                  <a:pt x="73670" y="18753"/>
                </a:lnTo>
                <a:lnTo>
                  <a:pt x="73949" y="18697"/>
                </a:lnTo>
                <a:lnTo>
                  <a:pt x="74116" y="18529"/>
                </a:lnTo>
                <a:lnTo>
                  <a:pt x="74284" y="18362"/>
                </a:lnTo>
                <a:lnTo>
                  <a:pt x="74340" y="18083"/>
                </a:lnTo>
                <a:lnTo>
                  <a:pt x="74284" y="17860"/>
                </a:lnTo>
                <a:lnTo>
                  <a:pt x="90246" y="12725"/>
                </a:lnTo>
                <a:lnTo>
                  <a:pt x="90357" y="12893"/>
                </a:lnTo>
                <a:lnTo>
                  <a:pt x="90469" y="13060"/>
                </a:lnTo>
                <a:lnTo>
                  <a:pt x="90636" y="13116"/>
                </a:lnTo>
                <a:lnTo>
                  <a:pt x="90860" y="13172"/>
                </a:lnTo>
                <a:lnTo>
                  <a:pt x="91139" y="13116"/>
                </a:lnTo>
                <a:lnTo>
                  <a:pt x="91362" y="12948"/>
                </a:lnTo>
                <a:lnTo>
                  <a:pt x="107659" y="30082"/>
                </a:lnTo>
                <a:lnTo>
                  <a:pt x="107603" y="30361"/>
                </a:lnTo>
                <a:lnTo>
                  <a:pt x="107659" y="30640"/>
                </a:lnTo>
                <a:lnTo>
                  <a:pt x="107826" y="30808"/>
                </a:lnTo>
                <a:lnTo>
                  <a:pt x="107993" y="30975"/>
                </a:lnTo>
                <a:lnTo>
                  <a:pt x="108272" y="31031"/>
                </a:lnTo>
                <a:lnTo>
                  <a:pt x="108552" y="30975"/>
                </a:lnTo>
                <a:lnTo>
                  <a:pt x="108719" y="30808"/>
                </a:lnTo>
                <a:lnTo>
                  <a:pt x="108886" y="30640"/>
                </a:lnTo>
                <a:lnTo>
                  <a:pt x="108942" y="30361"/>
                </a:lnTo>
                <a:lnTo>
                  <a:pt x="108886" y="30082"/>
                </a:lnTo>
                <a:lnTo>
                  <a:pt x="125127" y="18195"/>
                </a:lnTo>
                <a:lnTo>
                  <a:pt x="125239" y="18362"/>
                </a:lnTo>
                <a:lnTo>
                  <a:pt x="125350" y="18418"/>
                </a:lnTo>
                <a:lnTo>
                  <a:pt x="125518" y="18529"/>
                </a:lnTo>
                <a:lnTo>
                  <a:pt x="125685" y="18529"/>
                </a:lnTo>
                <a:lnTo>
                  <a:pt x="125964" y="18474"/>
                </a:lnTo>
                <a:lnTo>
                  <a:pt x="126132" y="18306"/>
                </a:lnTo>
                <a:lnTo>
                  <a:pt x="126299" y="18139"/>
                </a:lnTo>
                <a:lnTo>
                  <a:pt x="126355" y="17860"/>
                </a:lnTo>
                <a:lnTo>
                  <a:pt x="126355" y="17804"/>
                </a:lnTo>
                <a:lnTo>
                  <a:pt x="142205" y="16130"/>
                </a:lnTo>
                <a:lnTo>
                  <a:pt x="142261" y="16409"/>
                </a:lnTo>
                <a:lnTo>
                  <a:pt x="142429" y="16576"/>
                </a:lnTo>
                <a:lnTo>
                  <a:pt x="142652" y="16688"/>
                </a:lnTo>
                <a:lnTo>
                  <a:pt x="142875" y="16743"/>
                </a:lnTo>
                <a:lnTo>
                  <a:pt x="143154" y="16688"/>
                </a:lnTo>
                <a:lnTo>
                  <a:pt x="143321" y="16520"/>
                </a:lnTo>
                <a:lnTo>
                  <a:pt x="143489" y="16353"/>
                </a:lnTo>
                <a:lnTo>
                  <a:pt x="143545" y="16074"/>
                </a:lnTo>
                <a:lnTo>
                  <a:pt x="143489" y="15906"/>
                </a:lnTo>
                <a:lnTo>
                  <a:pt x="143433" y="15683"/>
                </a:lnTo>
                <a:lnTo>
                  <a:pt x="159786" y="1061"/>
                </a:lnTo>
                <a:lnTo>
                  <a:pt x="160009" y="1284"/>
                </a:lnTo>
                <a:lnTo>
                  <a:pt x="160120" y="1340"/>
                </a:lnTo>
                <a:lnTo>
                  <a:pt x="160288" y="1340"/>
                </a:lnTo>
                <a:lnTo>
                  <a:pt x="160511" y="1284"/>
                </a:lnTo>
                <a:lnTo>
                  <a:pt x="160679" y="1228"/>
                </a:lnTo>
                <a:lnTo>
                  <a:pt x="160790" y="1117"/>
                </a:lnTo>
                <a:lnTo>
                  <a:pt x="160902" y="949"/>
                </a:lnTo>
                <a:lnTo>
                  <a:pt x="177031" y="6530"/>
                </a:lnTo>
                <a:lnTo>
                  <a:pt x="177031" y="6698"/>
                </a:lnTo>
                <a:lnTo>
                  <a:pt x="177087" y="6977"/>
                </a:lnTo>
                <a:lnTo>
                  <a:pt x="177254" y="7144"/>
                </a:lnTo>
                <a:lnTo>
                  <a:pt x="177422" y="7312"/>
                </a:lnTo>
                <a:lnTo>
                  <a:pt x="177701" y="7367"/>
                </a:lnTo>
                <a:lnTo>
                  <a:pt x="177868" y="7367"/>
                </a:lnTo>
                <a:lnTo>
                  <a:pt x="178036" y="7256"/>
                </a:lnTo>
                <a:lnTo>
                  <a:pt x="194388" y="25450"/>
                </a:lnTo>
                <a:lnTo>
                  <a:pt x="194277" y="25673"/>
                </a:lnTo>
                <a:lnTo>
                  <a:pt x="194221" y="25896"/>
                </a:lnTo>
                <a:lnTo>
                  <a:pt x="194277" y="26175"/>
                </a:lnTo>
                <a:lnTo>
                  <a:pt x="194444" y="26343"/>
                </a:lnTo>
                <a:lnTo>
                  <a:pt x="194611" y="26510"/>
                </a:lnTo>
                <a:lnTo>
                  <a:pt x="194890" y="26566"/>
                </a:lnTo>
                <a:lnTo>
                  <a:pt x="195058" y="26566"/>
                </a:lnTo>
                <a:lnTo>
                  <a:pt x="195169" y="26510"/>
                </a:lnTo>
                <a:lnTo>
                  <a:pt x="195337" y="26399"/>
                </a:lnTo>
                <a:lnTo>
                  <a:pt x="195449" y="26287"/>
                </a:lnTo>
                <a:lnTo>
                  <a:pt x="211410" y="32538"/>
                </a:lnTo>
                <a:lnTo>
                  <a:pt x="211410" y="32594"/>
                </a:lnTo>
                <a:lnTo>
                  <a:pt x="211466" y="32873"/>
                </a:lnTo>
                <a:lnTo>
                  <a:pt x="211634" y="33040"/>
                </a:lnTo>
                <a:lnTo>
                  <a:pt x="211801" y="33208"/>
                </a:lnTo>
                <a:lnTo>
                  <a:pt x="212080" y="33263"/>
                </a:lnTo>
                <a:lnTo>
                  <a:pt x="212359" y="33208"/>
                </a:lnTo>
                <a:lnTo>
                  <a:pt x="212527" y="33040"/>
                </a:lnTo>
                <a:lnTo>
                  <a:pt x="212694" y="32873"/>
                </a:lnTo>
                <a:lnTo>
                  <a:pt x="212750" y="32594"/>
                </a:lnTo>
                <a:lnTo>
                  <a:pt x="212750" y="32538"/>
                </a:lnTo>
                <a:lnTo>
                  <a:pt x="229214" y="22994"/>
                </a:lnTo>
                <a:lnTo>
                  <a:pt x="229437" y="23162"/>
                </a:lnTo>
                <a:lnTo>
                  <a:pt x="229716" y="23217"/>
                </a:lnTo>
                <a:lnTo>
                  <a:pt x="229995" y="23162"/>
                </a:lnTo>
                <a:lnTo>
                  <a:pt x="230163" y="22994"/>
                </a:lnTo>
                <a:lnTo>
                  <a:pt x="230330" y="22827"/>
                </a:lnTo>
                <a:lnTo>
                  <a:pt x="230386" y="22548"/>
                </a:lnTo>
                <a:lnTo>
                  <a:pt x="230386" y="22492"/>
                </a:lnTo>
                <a:lnTo>
                  <a:pt x="246180" y="16297"/>
                </a:lnTo>
                <a:lnTo>
                  <a:pt x="246404" y="16464"/>
                </a:lnTo>
                <a:lnTo>
                  <a:pt x="246683" y="16520"/>
                </a:lnTo>
                <a:lnTo>
                  <a:pt x="246962" y="16464"/>
                </a:lnTo>
                <a:lnTo>
                  <a:pt x="247129" y="16297"/>
                </a:lnTo>
                <a:lnTo>
                  <a:pt x="247297" y="16130"/>
                </a:lnTo>
                <a:lnTo>
                  <a:pt x="247352" y="15851"/>
                </a:lnTo>
                <a:lnTo>
                  <a:pt x="247297" y="15683"/>
                </a:lnTo>
                <a:lnTo>
                  <a:pt x="263761" y="1507"/>
                </a:lnTo>
                <a:lnTo>
                  <a:pt x="263872" y="1619"/>
                </a:lnTo>
                <a:lnTo>
                  <a:pt x="264040" y="1730"/>
                </a:lnTo>
                <a:lnTo>
                  <a:pt x="264151" y="1786"/>
                </a:lnTo>
                <a:lnTo>
                  <a:pt x="264319" y="1786"/>
                </a:lnTo>
                <a:lnTo>
                  <a:pt x="264542" y="1730"/>
                </a:lnTo>
                <a:lnTo>
                  <a:pt x="264765" y="1619"/>
                </a:lnTo>
                <a:lnTo>
                  <a:pt x="264877" y="1451"/>
                </a:lnTo>
                <a:lnTo>
                  <a:pt x="264988" y="1228"/>
                </a:lnTo>
                <a:lnTo>
                  <a:pt x="280839" y="3237"/>
                </a:lnTo>
                <a:lnTo>
                  <a:pt x="280839" y="3349"/>
                </a:lnTo>
                <a:lnTo>
                  <a:pt x="280894" y="3628"/>
                </a:lnTo>
                <a:lnTo>
                  <a:pt x="281062" y="3795"/>
                </a:lnTo>
                <a:lnTo>
                  <a:pt x="281229" y="3963"/>
                </a:lnTo>
                <a:lnTo>
                  <a:pt x="281508" y="4019"/>
                </a:lnTo>
                <a:lnTo>
                  <a:pt x="281787" y="3963"/>
                </a:lnTo>
                <a:lnTo>
                  <a:pt x="281955" y="3795"/>
                </a:lnTo>
                <a:lnTo>
                  <a:pt x="282122" y="3628"/>
                </a:lnTo>
                <a:lnTo>
                  <a:pt x="282178" y="3349"/>
                </a:lnTo>
                <a:lnTo>
                  <a:pt x="285750" y="3349"/>
                </a:lnTo>
                <a:lnTo>
                  <a:pt x="285750" y="3126"/>
                </a:lnTo>
                <a:lnTo>
                  <a:pt x="282122" y="3126"/>
                </a:lnTo>
                <a:lnTo>
                  <a:pt x="282067" y="2958"/>
                </a:lnTo>
                <a:lnTo>
                  <a:pt x="281899" y="2791"/>
                </a:lnTo>
                <a:lnTo>
                  <a:pt x="281732" y="2735"/>
                </a:lnTo>
                <a:lnTo>
                  <a:pt x="281508" y="2679"/>
                </a:lnTo>
                <a:lnTo>
                  <a:pt x="281341" y="2679"/>
                </a:lnTo>
                <a:lnTo>
                  <a:pt x="281174" y="2791"/>
                </a:lnTo>
                <a:lnTo>
                  <a:pt x="281006" y="2902"/>
                </a:lnTo>
                <a:lnTo>
                  <a:pt x="280894" y="3014"/>
                </a:lnTo>
                <a:lnTo>
                  <a:pt x="264988" y="1005"/>
                </a:lnTo>
                <a:lnTo>
                  <a:pt x="264877" y="782"/>
                </a:lnTo>
                <a:lnTo>
                  <a:pt x="264765" y="614"/>
                </a:lnTo>
                <a:lnTo>
                  <a:pt x="264542" y="503"/>
                </a:lnTo>
                <a:lnTo>
                  <a:pt x="264319" y="447"/>
                </a:lnTo>
                <a:lnTo>
                  <a:pt x="264040" y="503"/>
                </a:lnTo>
                <a:lnTo>
                  <a:pt x="263872" y="670"/>
                </a:lnTo>
                <a:lnTo>
                  <a:pt x="263705" y="838"/>
                </a:lnTo>
                <a:lnTo>
                  <a:pt x="263649" y="1117"/>
                </a:lnTo>
                <a:lnTo>
                  <a:pt x="263705" y="1284"/>
                </a:lnTo>
                <a:lnTo>
                  <a:pt x="247241" y="15460"/>
                </a:lnTo>
                <a:lnTo>
                  <a:pt x="247129" y="15348"/>
                </a:lnTo>
                <a:lnTo>
                  <a:pt x="246962" y="15237"/>
                </a:lnTo>
                <a:lnTo>
                  <a:pt x="246850" y="15181"/>
                </a:lnTo>
                <a:lnTo>
                  <a:pt x="246683" y="15181"/>
                </a:lnTo>
                <a:lnTo>
                  <a:pt x="246404" y="15237"/>
                </a:lnTo>
                <a:lnTo>
                  <a:pt x="246236" y="15404"/>
                </a:lnTo>
                <a:lnTo>
                  <a:pt x="246069" y="15571"/>
                </a:lnTo>
                <a:lnTo>
                  <a:pt x="246013" y="15851"/>
                </a:lnTo>
                <a:lnTo>
                  <a:pt x="246069" y="16130"/>
                </a:lnTo>
                <a:lnTo>
                  <a:pt x="230330" y="22269"/>
                </a:lnTo>
                <a:lnTo>
                  <a:pt x="230219" y="22101"/>
                </a:lnTo>
                <a:lnTo>
                  <a:pt x="230051" y="21990"/>
                </a:lnTo>
                <a:lnTo>
                  <a:pt x="229884" y="21934"/>
                </a:lnTo>
                <a:lnTo>
                  <a:pt x="229716" y="21878"/>
                </a:lnTo>
                <a:lnTo>
                  <a:pt x="229437" y="21934"/>
                </a:lnTo>
                <a:lnTo>
                  <a:pt x="229270" y="22101"/>
                </a:lnTo>
                <a:lnTo>
                  <a:pt x="229102" y="22269"/>
                </a:lnTo>
                <a:lnTo>
                  <a:pt x="229046" y="22548"/>
                </a:lnTo>
                <a:lnTo>
                  <a:pt x="229102" y="22827"/>
                </a:lnTo>
                <a:lnTo>
                  <a:pt x="212694" y="32315"/>
                </a:lnTo>
                <a:lnTo>
                  <a:pt x="212582" y="32147"/>
                </a:lnTo>
                <a:lnTo>
                  <a:pt x="212415" y="32036"/>
                </a:lnTo>
                <a:lnTo>
                  <a:pt x="212248" y="31924"/>
                </a:lnTo>
                <a:lnTo>
                  <a:pt x="212080" y="31924"/>
                </a:lnTo>
                <a:lnTo>
                  <a:pt x="211913" y="31980"/>
                </a:lnTo>
                <a:lnTo>
                  <a:pt x="211745" y="32036"/>
                </a:lnTo>
                <a:lnTo>
                  <a:pt x="211578" y="32147"/>
                </a:lnTo>
                <a:lnTo>
                  <a:pt x="211466" y="32315"/>
                </a:lnTo>
                <a:lnTo>
                  <a:pt x="195504" y="26120"/>
                </a:lnTo>
                <a:lnTo>
                  <a:pt x="195560" y="25896"/>
                </a:lnTo>
                <a:lnTo>
                  <a:pt x="195504" y="25617"/>
                </a:lnTo>
                <a:lnTo>
                  <a:pt x="195337" y="25450"/>
                </a:lnTo>
                <a:lnTo>
                  <a:pt x="195169" y="25282"/>
                </a:lnTo>
                <a:lnTo>
                  <a:pt x="194890" y="25227"/>
                </a:lnTo>
                <a:lnTo>
                  <a:pt x="194723" y="25227"/>
                </a:lnTo>
                <a:lnTo>
                  <a:pt x="194556" y="25338"/>
                </a:lnTo>
                <a:lnTo>
                  <a:pt x="178203" y="7144"/>
                </a:lnTo>
                <a:lnTo>
                  <a:pt x="178315" y="6921"/>
                </a:lnTo>
                <a:lnTo>
                  <a:pt x="178371" y="6698"/>
                </a:lnTo>
                <a:lnTo>
                  <a:pt x="178315" y="6419"/>
                </a:lnTo>
                <a:lnTo>
                  <a:pt x="178147" y="6251"/>
                </a:lnTo>
                <a:lnTo>
                  <a:pt x="177980" y="6084"/>
                </a:lnTo>
                <a:lnTo>
                  <a:pt x="177701" y="6028"/>
                </a:lnTo>
                <a:lnTo>
                  <a:pt x="177533" y="6028"/>
                </a:lnTo>
                <a:lnTo>
                  <a:pt x="177366" y="6084"/>
                </a:lnTo>
                <a:lnTo>
                  <a:pt x="177254" y="6195"/>
                </a:lnTo>
                <a:lnTo>
                  <a:pt x="177143" y="6307"/>
                </a:lnTo>
                <a:lnTo>
                  <a:pt x="160958" y="726"/>
                </a:lnTo>
                <a:lnTo>
                  <a:pt x="160958" y="670"/>
                </a:lnTo>
                <a:lnTo>
                  <a:pt x="160902" y="391"/>
                </a:lnTo>
                <a:lnTo>
                  <a:pt x="160734" y="224"/>
                </a:lnTo>
                <a:lnTo>
                  <a:pt x="160567" y="56"/>
                </a:lnTo>
                <a:lnTo>
                  <a:pt x="160288" y="0"/>
                </a:lnTo>
                <a:close/>
              </a:path>
            </a:pathLst>
          </a:custGeom>
          <a:solidFill>
            <a:srgbClr val="FFFFFF">
              <a:alpha val="3500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 1 column + image">
  <p:cSld name="TITLE_AND_BODY_1">
    <p:spTree>
      <p:nvGrpSpPr>
        <p:cNvPr id="1" name="Shape 330"/>
        <p:cNvGrpSpPr/>
        <p:nvPr/>
      </p:nvGrpSpPr>
      <p:grpSpPr>
        <a:xfrm>
          <a:off x="0" y="0"/>
          <a:ext cx="0" cy="0"/>
          <a:chOff x="0" y="0"/>
          <a:chExt cx="0" cy="0"/>
        </a:xfrm>
      </p:grpSpPr>
      <p:sp>
        <p:nvSpPr>
          <p:cNvPr id="331" name="Google Shape;331;p6"/>
          <p:cNvSpPr/>
          <p:nvPr/>
        </p:nvSpPr>
        <p:spPr>
          <a:xfrm>
            <a:off x="4985150" y="200"/>
            <a:ext cx="4158900" cy="6858000"/>
          </a:xfrm>
          <a:prstGeom prst="rect">
            <a:avLst/>
          </a:prstGeom>
          <a:solidFill>
            <a:srgbClr val="00041C">
              <a:alpha val="1846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332" name="Google Shape;332;p6"/>
          <p:cNvSpPr txBox="1">
            <a:spLocks noGrp="1"/>
          </p:cNvSpPr>
          <p:nvPr>
            <p:ph type="sldNum" idx="12"/>
          </p:nvPr>
        </p:nvSpPr>
        <p:spPr>
          <a:xfrm>
            <a:off x="8586575" y="-15833"/>
            <a:ext cx="557400" cy="7304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333" name="Google Shape;333;p6"/>
          <p:cNvSpPr txBox="1">
            <a:spLocks noGrp="1"/>
          </p:cNvSpPr>
          <p:nvPr>
            <p:ph type="title"/>
          </p:nvPr>
        </p:nvSpPr>
        <p:spPr>
          <a:xfrm>
            <a:off x="452724" y="827893"/>
            <a:ext cx="3985200" cy="1143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3000"/>
              <a:buNone/>
              <a:defRPr>
                <a:solidFill>
                  <a:schemeClr val="lt1"/>
                </a:solidFill>
              </a:defRPr>
            </a:lvl1pPr>
            <a:lvl2pPr lvl="1" rtl="0">
              <a:spcBef>
                <a:spcPts val="0"/>
              </a:spcBef>
              <a:spcAft>
                <a:spcPts val="0"/>
              </a:spcAft>
              <a:buClr>
                <a:schemeClr val="lt1"/>
              </a:buClr>
              <a:buSzPts val="3000"/>
              <a:buNone/>
              <a:defRPr>
                <a:solidFill>
                  <a:schemeClr val="lt1"/>
                </a:solidFill>
              </a:defRPr>
            </a:lvl2pPr>
            <a:lvl3pPr lvl="2" rtl="0">
              <a:spcBef>
                <a:spcPts val="0"/>
              </a:spcBef>
              <a:spcAft>
                <a:spcPts val="0"/>
              </a:spcAft>
              <a:buClr>
                <a:schemeClr val="lt1"/>
              </a:buClr>
              <a:buSzPts val="3000"/>
              <a:buNone/>
              <a:defRPr>
                <a:solidFill>
                  <a:schemeClr val="lt1"/>
                </a:solidFill>
              </a:defRPr>
            </a:lvl3pPr>
            <a:lvl4pPr lvl="3" rtl="0">
              <a:spcBef>
                <a:spcPts val="0"/>
              </a:spcBef>
              <a:spcAft>
                <a:spcPts val="0"/>
              </a:spcAft>
              <a:buClr>
                <a:schemeClr val="lt1"/>
              </a:buClr>
              <a:buSzPts val="3000"/>
              <a:buNone/>
              <a:defRPr>
                <a:solidFill>
                  <a:schemeClr val="lt1"/>
                </a:solidFill>
              </a:defRPr>
            </a:lvl4pPr>
            <a:lvl5pPr lvl="4" rtl="0">
              <a:spcBef>
                <a:spcPts val="0"/>
              </a:spcBef>
              <a:spcAft>
                <a:spcPts val="0"/>
              </a:spcAft>
              <a:buClr>
                <a:schemeClr val="lt1"/>
              </a:buClr>
              <a:buSzPts val="3000"/>
              <a:buNone/>
              <a:defRPr>
                <a:solidFill>
                  <a:schemeClr val="lt1"/>
                </a:solidFill>
              </a:defRPr>
            </a:lvl5pPr>
            <a:lvl6pPr lvl="5" rtl="0">
              <a:spcBef>
                <a:spcPts val="0"/>
              </a:spcBef>
              <a:spcAft>
                <a:spcPts val="0"/>
              </a:spcAft>
              <a:buClr>
                <a:schemeClr val="lt1"/>
              </a:buClr>
              <a:buSzPts val="3000"/>
              <a:buNone/>
              <a:defRPr>
                <a:solidFill>
                  <a:schemeClr val="lt1"/>
                </a:solidFill>
              </a:defRPr>
            </a:lvl6pPr>
            <a:lvl7pPr lvl="6" rtl="0">
              <a:spcBef>
                <a:spcPts val="0"/>
              </a:spcBef>
              <a:spcAft>
                <a:spcPts val="0"/>
              </a:spcAft>
              <a:buClr>
                <a:schemeClr val="lt1"/>
              </a:buClr>
              <a:buSzPts val="3000"/>
              <a:buNone/>
              <a:defRPr>
                <a:solidFill>
                  <a:schemeClr val="lt1"/>
                </a:solidFill>
              </a:defRPr>
            </a:lvl7pPr>
            <a:lvl8pPr lvl="7" rtl="0">
              <a:spcBef>
                <a:spcPts val="0"/>
              </a:spcBef>
              <a:spcAft>
                <a:spcPts val="0"/>
              </a:spcAft>
              <a:buClr>
                <a:schemeClr val="lt1"/>
              </a:buClr>
              <a:buSzPts val="3000"/>
              <a:buNone/>
              <a:defRPr>
                <a:solidFill>
                  <a:schemeClr val="lt1"/>
                </a:solidFill>
              </a:defRPr>
            </a:lvl8pPr>
            <a:lvl9pPr lvl="8" rtl="0">
              <a:spcBef>
                <a:spcPts val="0"/>
              </a:spcBef>
              <a:spcAft>
                <a:spcPts val="0"/>
              </a:spcAft>
              <a:buClr>
                <a:schemeClr val="lt1"/>
              </a:buClr>
              <a:buSzPts val="3000"/>
              <a:buNone/>
              <a:defRPr>
                <a:solidFill>
                  <a:schemeClr val="lt1"/>
                </a:solidFill>
              </a:defRPr>
            </a:lvl9pPr>
          </a:lstStyle>
          <a:p>
            <a:endParaRPr/>
          </a:p>
        </p:txBody>
      </p:sp>
      <p:sp>
        <p:nvSpPr>
          <p:cNvPr id="334" name="Google Shape;334;p6"/>
          <p:cNvSpPr txBox="1">
            <a:spLocks noGrp="1"/>
          </p:cNvSpPr>
          <p:nvPr>
            <p:ph type="body" idx="1"/>
          </p:nvPr>
        </p:nvSpPr>
        <p:spPr>
          <a:xfrm>
            <a:off x="452727" y="1883571"/>
            <a:ext cx="3985200" cy="4131200"/>
          </a:xfrm>
          <a:prstGeom prst="rect">
            <a:avLst/>
          </a:prstGeom>
        </p:spPr>
        <p:txBody>
          <a:bodyPr spcFirstLastPara="1" wrap="square" lIns="91425" tIns="91425" rIns="91425" bIns="91425" anchor="t" anchorCtr="0">
            <a:noAutofit/>
          </a:bodyPr>
          <a:lstStyle>
            <a:lvl1pPr marL="609585" lvl="0" indent="-507987" rtl="0">
              <a:spcBef>
                <a:spcPts val="800"/>
              </a:spcBef>
              <a:spcAft>
                <a:spcPts val="0"/>
              </a:spcAft>
              <a:buSzPts val="2400"/>
              <a:buChar char="▫"/>
              <a:defRPr>
                <a:solidFill>
                  <a:schemeClr val="lt1"/>
                </a:solidFill>
              </a:defRPr>
            </a:lvl1pPr>
            <a:lvl2pPr marL="1219170" lvl="1" indent="-507987" rtl="0">
              <a:spcBef>
                <a:spcPts val="0"/>
              </a:spcBef>
              <a:spcAft>
                <a:spcPts val="0"/>
              </a:spcAft>
              <a:buSzPts val="2400"/>
              <a:buChar char="-"/>
              <a:defRPr>
                <a:solidFill>
                  <a:schemeClr val="lt1"/>
                </a:solidFill>
              </a:defRPr>
            </a:lvl2pPr>
            <a:lvl3pPr marL="1828754" lvl="2" indent="-507987" rtl="0">
              <a:spcBef>
                <a:spcPts val="0"/>
              </a:spcBef>
              <a:spcAft>
                <a:spcPts val="0"/>
              </a:spcAft>
              <a:buSzPts val="2400"/>
              <a:buChar char="-"/>
              <a:defRPr>
                <a:solidFill>
                  <a:schemeClr val="lt1"/>
                </a:solidFill>
              </a:defRPr>
            </a:lvl3pPr>
            <a:lvl4pPr marL="2438339" lvl="3" indent="-507987" rtl="0">
              <a:spcBef>
                <a:spcPts val="0"/>
              </a:spcBef>
              <a:spcAft>
                <a:spcPts val="0"/>
              </a:spcAft>
              <a:buSzPts val="2400"/>
              <a:buChar char="-"/>
              <a:defRPr>
                <a:solidFill>
                  <a:schemeClr val="lt1"/>
                </a:solidFill>
              </a:defRPr>
            </a:lvl4pPr>
            <a:lvl5pPr marL="3047924" lvl="4" indent="-507987" rtl="0">
              <a:spcBef>
                <a:spcPts val="0"/>
              </a:spcBef>
              <a:spcAft>
                <a:spcPts val="0"/>
              </a:spcAft>
              <a:buSzPts val="2400"/>
              <a:buChar char="-"/>
              <a:defRPr>
                <a:solidFill>
                  <a:schemeClr val="lt1"/>
                </a:solidFill>
              </a:defRPr>
            </a:lvl5pPr>
            <a:lvl6pPr marL="3657509" lvl="5" indent="-507987" rtl="0">
              <a:spcBef>
                <a:spcPts val="0"/>
              </a:spcBef>
              <a:spcAft>
                <a:spcPts val="0"/>
              </a:spcAft>
              <a:buSzPts val="2400"/>
              <a:buChar char="-"/>
              <a:defRPr>
                <a:solidFill>
                  <a:schemeClr val="lt1"/>
                </a:solidFill>
              </a:defRPr>
            </a:lvl6pPr>
            <a:lvl7pPr marL="4267093" lvl="6" indent="-507987" rtl="0">
              <a:spcBef>
                <a:spcPts val="0"/>
              </a:spcBef>
              <a:spcAft>
                <a:spcPts val="0"/>
              </a:spcAft>
              <a:buSzPts val="2400"/>
              <a:buChar char="●"/>
              <a:defRPr>
                <a:solidFill>
                  <a:schemeClr val="lt1"/>
                </a:solidFill>
              </a:defRPr>
            </a:lvl7pPr>
            <a:lvl8pPr marL="4876678" lvl="7" indent="-507987" rtl="0">
              <a:spcBef>
                <a:spcPts val="0"/>
              </a:spcBef>
              <a:spcAft>
                <a:spcPts val="0"/>
              </a:spcAft>
              <a:buSzPts val="2400"/>
              <a:buChar char="○"/>
              <a:defRPr>
                <a:solidFill>
                  <a:schemeClr val="lt1"/>
                </a:solidFill>
              </a:defRPr>
            </a:lvl8pPr>
            <a:lvl9pPr marL="5486263" lvl="8" indent="-507987" rtl="0">
              <a:spcBef>
                <a:spcPts val="0"/>
              </a:spcBef>
              <a:spcAft>
                <a:spcPts val="0"/>
              </a:spcAft>
              <a:buSzPts val="2400"/>
              <a:buChar char="■"/>
              <a:defRPr>
                <a:solidFill>
                  <a:schemeClr val="lt1"/>
                </a:solidFil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52"/>
        <p:cNvGrpSpPr/>
        <p:nvPr/>
      </p:nvGrpSpPr>
      <p:grpSpPr>
        <a:xfrm>
          <a:off x="0" y="0"/>
          <a:ext cx="0" cy="0"/>
          <a:chOff x="0" y="0"/>
          <a:chExt cx="0" cy="0"/>
        </a:xfrm>
      </p:grpSpPr>
      <p:sp>
        <p:nvSpPr>
          <p:cNvPr id="553" name="Google Shape;553;p9"/>
          <p:cNvSpPr/>
          <p:nvPr/>
        </p:nvSpPr>
        <p:spPr>
          <a:xfrm>
            <a:off x="-25" y="0"/>
            <a:ext cx="9144000" cy="1451600"/>
          </a:xfrm>
          <a:prstGeom prst="rect">
            <a:avLst/>
          </a:prstGeom>
          <a:solidFill>
            <a:srgbClr val="00041C">
              <a:alpha val="1846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554" name="Google Shape;554;p9"/>
          <p:cNvGrpSpPr/>
          <p:nvPr/>
        </p:nvGrpSpPr>
        <p:grpSpPr>
          <a:xfrm>
            <a:off x="28550" y="5134087"/>
            <a:ext cx="9094048" cy="1724139"/>
            <a:chOff x="28544" y="3514688"/>
            <a:chExt cx="9094048" cy="1628800"/>
          </a:xfrm>
        </p:grpSpPr>
        <p:sp>
          <p:nvSpPr>
            <p:cNvPr id="555" name="Google Shape;555;p9"/>
            <p:cNvSpPr/>
            <p:nvPr/>
          </p:nvSpPr>
          <p:spPr>
            <a:xfrm>
              <a:off x="300032" y="4491616"/>
              <a:ext cx="228608" cy="651872"/>
            </a:xfrm>
            <a:custGeom>
              <a:avLst/>
              <a:gdLst/>
              <a:ahLst/>
              <a:cxnLst/>
              <a:rect l="l" t="t" r="r" b="b"/>
              <a:pathLst>
                <a:path w="7144" h="20371" extrusionOk="0">
                  <a:moveTo>
                    <a:pt x="0" y="0"/>
                  </a:moveTo>
                  <a:lnTo>
                    <a:pt x="0" y="20371"/>
                  </a:lnTo>
                  <a:lnTo>
                    <a:pt x="7144" y="20371"/>
                  </a:lnTo>
                  <a:lnTo>
                    <a:pt x="7144"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56" name="Google Shape;556;p9"/>
            <p:cNvSpPr/>
            <p:nvPr/>
          </p:nvSpPr>
          <p:spPr>
            <a:xfrm>
              <a:off x="28544" y="4220160"/>
              <a:ext cx="228640" cy="923328"/>
            </a:xfrm>
            <a:custGeom>
              <a:avLst/>
              <a:gdLst/>
              <a:ahLst/>
              <a:cxnLst/>
              <a:rect l="l" t="t" r="r" b="b"/>
              <a:pathLst>
                <a:path w="7145" h="28854" extrusionOk="0">
                  <a:moveTo>
                    <a:pt x="1" y="0"/>
                  </a:moveTo>
                  <a:lnTo>
                    <a:pt x="1" y="28854"/>
                  </a:lnTo>
                  <a:lnTo>
                    <a:pt x="7145" y="28854"/>
                  </a:lnTo>
                  <a:lnTo>
                    <a:pt x="7145"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57" name="Google Shape;557;p9"/>
            <p:cNvSpPr/>
            <p:nvPr/>
          </p:nvSpPr>
          <p:spPr>
            <a:xfrm>
              <a:off x="576832" y="3939744"/>
              <a:ext cx="230432" cy="1203744"/>
            </a:xfrm>
            <a:custGeom>
              <a:avLst/>
              <a:gdLst/>
              <a:ahLst/>
              <a:cxnLst/>
              <a:rect l="l" t="t" r="r" b="b"/>
              <a:pathLst>
                <a:path w="7201" h="37617" extrusionOk="0">
                  <a:moveTo>
                    <a:pt x="1" y="1"/>
                  </a:moveTo>
                  <a:lnTo>
                    <a:pt x="1"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58" name="Google Shape;558;p9"/>
            <p:cNvSpPr/>
            <p:nvPr/>
          </p:nvSpPr>
          <p:spPr>
            <a:xfrm>
              <a:off x="853664" y="4120128"/>
              <a:ext cx="230400" cy="1023360"/>
            </a:xfrm>
            <a:custGeom>
              <a:avLst/>
              <a:gdLst/>
              <a:ahLst/>
              <a:cxnLst/>
              <a:rect l="l" t="t" r="r" b="b"/>
              <a:pathLst>
                <a:path w="7200" h="31980" extrusionOk="0">
                  <a:moveTo>
                    <a:pt x="0" y="1"/>
                  </a:moveTo>
                  <a:lnTo>
                    <a:pt x="0" y="31980"/>
                  </a:lnTo>
                  <a:lnTo>
                    <a:pt x="7200" y="3198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59" name="Google Shape;559;p9"/>
            <p:cNvSpPr/>
            <p:nvPr/>
          </p:nvSpPr>
          <p:spPr>
            <a:xfrm>
              <a:off x="1130496" y="4627328"/>
              <a:ext cx="230400" cy="516160"/>
            </a:xfrm>
            <a:custGeom>
              <a:avLst/>
              <a:gdLst/>
              <a:ahLst/>
              <a:cxnLst/>
              <a:rect l="l" t="t" r="r" b="b"/>
              <a:pathLst>
                <a:path w="7200" h="16130" extrusionOk="0">
                  <a:moveTo>
                    <a:pt x="0" y="1"/>
                  </a:moveTo>
                  <a:lnTo>
                    <a:pt x="0" y="16130"/>
                  </a:lnTo>
                  <a:lnTo>
                    <a:pt x="7200" y="1613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0" name="Google Shape;560;p9"/>
            <p:cNvSpPr/>
            <p:nvPr/>
          </p:nvSpPr>
          <p:spPr>
            <a:xfrm>
              <a:off x="1409088" y="3821888"/>
              <a:ext cx="228640" cy="1321600"/>
            </a:xfrm>
            <a:custGeom>
              <a:avLst/>
              <a:gdLst/>
              <a:ahLst/>
              <a:cxnLst/>
              <a:rect l="l" t="t" r="r" b="b"/>
              <a:pathLst>
                <a:path w="7145" h="41300" extrusionOk="0">
                  <a:moveTo>
                    <a:pt x="1" y="0"/>
                  </a:moveTo>
                  <a:lnTo>
                    <a:pt x="1" y="41300"/>
                  </a:lnTo>
                  <a:lnTo>
                    <a:pt x="7144" y="41300"/>
                  </a:lnTo>
                  <a:lnTo>
                    <a:pt x="7144"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1" name="Google Shape;561;p9"/>
            <p:cNvSpPr/>
            <p:nvPr/>
          </p:nvSpPr>
          <p:spPr>
            <a:xfrm>
              <a:off x="1685920" y="4175488"/>
              <a:ext cx="230400" cy="968000"/>
            </a:xfrm>
            <a:custGeom>
              <a:avLst/>
              <a:gdLst/>
              <a:ahLst/>
              <a:cxnLst/>
              <a:rect l="l" t="t" r="r" b="b"/>
              <a:pathLst>
                <a:path w="7200" h="30250" extrusionOk="0">
                  <a:moveTo>
                    <a:pt x="0" y="1"/>
                  </a:moveTo>
                  <a:lnTo>
                    <a:pt x="0" y="30250"/>
                  </a:lnTo>
                  <a:lnTo>
                    <a:pt x="7200" y="3025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2" name="Google Shape;562;p9"/>
            <p:cNvSpPr/>
            <p:nvPr/>
          </p:nvSpPr>
          <p:spPr>
            <a:xfrm>
              <a:off x="1962720" y="3939744"/>
              <a:ext cx="230432" cy="1203744"/>
            </a:xfrm>
            <a:custGeom>
              <a:avLst/>
              <a:gdLst/>
              <a:ahLst/>
              <a:cxnLst/>
              <a:rect l="l" t="t" r="r" b="b"/>
              <a:pathLst>
                <a:path w="7201" h="37617" extrusionOk="0">
                  <a:moveTo>
                    <a:pt x="1" y="1"/>
                  </a:moveTo>
                  <a:lnTo>
                    <a:pt x="1"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3" name="Google Shape;563;p9"/>
            <p:cNvSpPr/>
            <p:nvPr/>
          </p:nvSpPr>
          <p:spPr>
            <a:xfrm>
              <a:off x="2239552" y="4355872"/>
              <a:ext cx="230400" cy="787616"/>
            </a:xfrm>
            <a:custGeom>
              <a:avLst/>
              <a:gdLst/>
              <a:ahLst/>
              <a:cxnLst/>
              <a:rect l="l" t="t" r="r" b="b"/>
              <a:pathLst>
                <a:path w="7200" h="24613" extrusionOk="0">
                  <a:moveTo>
                    <a:pt x="0" y="1"/>
                  </a:moveTo>
                  <a:lnTo>
                    <a:pt x="0" y="24613"/>
                  </a:lnTo>
                  <a:lnTo>
                    <a:pt x="7200" y="24613"/>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4" name="Google Shape;564;p9"/>
            <p:cNvSpPr/>
            <p:nvPr/>
          </p:nvSpPr>
          <p:spPr>
            <a:xfrm>
              <a:off x="2516384" y="3821888"/>
              <a:ext cx="230400" cy="1321600"/>
            </a:xfrm>
            <a:custGeom>
              <a:avLst/>
              <a:gdLst/>
              <a:ahLst/>
              <a:cxnLst/>
              <a:rect l="l" t="t" r="r" b="b"/>
              <a:pathLst>
                <a:path w="7200" h="41300" extrusionOk="0">
                  <a:moveTo>
                    <a:pt x="0" y="0"/>
                  </a:moveTo>
                  <a:lnTo>
                    <a:pt x="0"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5" name="Google Shape;565;p9"/>
            <p:cNvSpPr/>
            <p:nvPr/>
          </p:nvSpPr>
          <p:spPr>
            <a:xfrm>
              <a:off x="2794976" y="4175488"/>
              <a:ext cx="228640" cy="968000"/>
            </a:xfrm>
            <a:custGeom>
              <a:avLst/>
              <a:gdLst/>
              <a:ahLst/>
              <a:cxnLst/>
              <a:rect l="l" t="t" r="r" b="b"/>
              <a:pathLst>
                <a:path w="7145" h="30250" extrusionOk="0">
                  <a:moveTo>
                    <a:pt x="1" y="1"/>
                  </a:moveTo>
                  <a:lnTo>
                    <a:pt x="1" y="30250"/>
                  </a:lnTo>
                  <a:lnTo>
                    <a:pt x="7144" y="30250"/>
                  </a:lnTo>
                  <a:lnTo>
                    <a:pt x="7144"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6" name="Google Shape;566;p9"/>
            <p:cNvSpPr/>
            <p:nvPr/>
          </p:nvSpPr>
          <p:spPr>
            <a:xfrm>
              <a:off x="3071808" y="3659360"/>
              <a:ext cx="230400" cy="1484128"/>
            </a:xfrm>
            <a:custGeom>
              <a:avLst/>
              <a:gdLst/>
              <a:ahLst/>
              <a:cxnLst/>
              <a:rect l="l" t="t" r="r" b="b"/>
              <a:pathLst>
                <a:path w="7200" h="46379" extrusionOk="0">
                  <a:moveTo>
                    <a:pt x="0" y="1"/>
                  </a:moveTo>
                  <a:lnTo>
                    <a:pt x="0" y="46379"/>
                  </a:lnTo>
                  <a:lnTo>
                    <a:pt x="7200" y="46379"/>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7" name="Google Shape;567;p9"/>
            <p:cNvSpPr/>
            <p:nvPr/>
          </p:nvSpPr>
          <p:spPr>
            <a:xfrm>
              <a:off x="3348608" y="3821888"/>
              <a:ext cx="230432" cy="1321600"/>
            </a:xfrm>
            <a:custGeom>
              <a:avLst/>
              <a:gdLst/>
              <a:ahLst/>
              <a:cxnLst/>
              <a:rect l="l" t="t" r="r" b="b"/>
              <a:pathLst>
                <a:path w="7201" h="41300" extrusionOk="0">
                  <a:moveTo>
                    <a:pt x="1" y="0"/>
                  </a:moveTo>
                  <a:lnTo>
                    <a:pt x="1"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8" name="Google Shape;568;p9"/>
            <p:cNvSpPr/>
            <p:nvPr/>
          </p:nvSpPr>
          <p:spPr>
            <a:xfrm>
              <a:off x="3625440" y="4220160"/>
              <a:ext cx="230400" cy="923328"/>
            </a:xfrm>
            <a:custGeom>
              <a:avLst/>
              <a:gdLst/>
              <a:ahLst/>
              <a:cxnLst/>
              <a:rect l="l" t="t" r="r" b="b"/>
              <a:pathLst>
                <a:path w="7200" h="28854" extrusionOk="0">
                  <a:moveTo>
                    <a:pt x="0" y="0"/>
                  </a:moveTo>
                  <a:lnTo>
                    <a:pt x="0" y="28854"/>
                  </a:lnTo>
                  <a:lnTo>
                    <a:pt x="7200" y="28854"/>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69" name="Google Shape;569;p9"/>
            <p:cNvSpPr/>
            <p:nvPr/>
          </p:nvSpPr>
          <p:spPr>
            <a:xfrm>
              <a:off x="3904032" y="4491616"/>
              <a:ext cx="228640" cy="651872"/>
            </a:xfrm>
            <a:custGeom>
              <a:avLst/>
              <a:gdLst/>
              <a:ahLst/>
              <a:cxnLst/>
              <a:rect l="l" t="t" r="r" b="b"/>
              <a:pathLst>
                <a:path w="7145" h="20371" extrusionOk="0">
                  <a:moveTo>
                    <a:pt x="1" y="0"/>
                  </a:moveTo>
                  <a:lnTo>
                    <a:pt x="1" y="20371"/>
                  </a:lnTo>
                  <a:lnTo>
                    <a:pt x="7145" y="20371"/>
                  </a:lnTo>
                  <a:lnTo>
                    <a:pt x="7145"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0" name="Google Shape;570;p9"/>
            <p:cNvSpPr/>
            <p:nvPr/>
          </p:nvSpPr>
          <p:spPr>
            <a:xfrm>
              <a:off x="4180864" y="4284448"/>
              <a:ext cx="230432" cy="859040"/>
            </a:xfrm>
            <a:custGeom>
              <a:avLst/>
              <a:gdLst/>
              <a:ahLst/>
              <a:cxnLst/>
              <a:rect l="l" t="t" r="r" b="b"/>
              <a:pathLst>
                <a:path w="7201" h="26845" extrusionOk="0">
                  <a:moveTo>
                    <a:pt x="0" y="0"/>
                  </a:moveTo>
                  <a:lnTo>
                    <a:pt x="0" y="26845"/>
                  </a:lnTo>
                  <a:lnTo>
                    <a:pt x="7200" y="26845"/>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1" name="Google Shape;571;p9"/>
            <p:cNvSpPr/>
            <p:nvPr/>
          </p:nvSpPr>
          <p:spPr>
            <a:xfrm>
              <a:off x="4457696" y="4004032"/>
              <a:ext cx="230400" cy="1139456"/>
            </a:xfrm>
            <a:custGeom>
              <a:avLst/>
              <a:gdLst/>
              <a:ahLst/>
              <a:cxnLst/>
              <a:rect l="l" t="t" r="r" b="b"/>
              <a:pathLst>
                <a:path w="7200" h="35608" extrusionOk="0">
                  <a:moveTo>
                    <a:pt x="0" y="1"/>
                  </a:moveTo>
                  <a:lnTo>
                    <a:pt x="0" y="35608"/>
                  </a:lnTo>
                  <a:lnTo>
                    <a:pt x="7200" y="35608"/>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2" name="Google Shape;572;p9"/>
            <p:cNvSpPr/>
            <p:nvPr/>
          </p:nvSpPr>
          <p:spPr>
            <a:xfrm>
              <a:off x="4734496" y="3821888"/>
              <a:ext cx="230432" cy="1321600"/>
            </a:xfrm>
            <a:custGeom>
              <a:avLst/>
              <a:gdLst/>
              <a:ahLst/>
              <a:cxnLst/>
              <a:rect l="l" t="t" r="r" b="b"/>
              <a:pathLst>
                <a:path w="7201" h="41300" extrusionOk="0">
                  <a:moveTo>
                    <a:pt x="1" y="0"/>
                  </a:moveTo>
                  <a:lnTo>
                    <a:pt x="1"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3" name="Google Shape;573;p9"/>
            <p:cNvSpPr/>
            <p:nvPr/>
          </p:nvSpPr>
          <p:spPr>
            <a:xfrm>
              <a:off x="5011328" y="3514688"/>
              <a:ext cx="230400" cy="1628800"/>
            </a:xfrm>
            <a:custGeom>
              <a:avLst/>
              <a:gdLst/>
              <a:ahLst/>
              <a:cxnLst/>
              <a:rect l="l" t="t" r="r" b="b"/>
              <a:pathLst>
                <a:path w="7200" h="50900" extrusionOk="0">
                  <a:moveTo>
                    <a:pt x="0" y="1"/>
                  </a:moveTo>
                  <a:lnTo>
                    <a:pt x="0" y="50900"/>
                  </a:lnTo>
                  <a:lnTo>
                    <a:pt x="7200" y="5090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4" name="Google Shape;574;p9"/>
            <p:cNvSpPr/>
            <p:nvPr/>
          </p:nvSpPr>
          <p:spPr>
            <a:xfrm>
              <a:off x="5289920" y="3939744"/>
              <a:ext cx="228640" cy="1203744"/>
            </a:xfrm>
            <a:custGeom>
              <a:avLst/>
              <a:gdLst/>
              <a:ahLst/>
              <a:cxnLst/>
              <a:rect l="l" t="t" r="r" b="b"/>
              <a:pathLst>
                <a:path w="7145" h="37617" extrusionOk="0">
                  <a:moveTo>
                    <a:pt x="1" y="1"/>
                  </a:moveTo>
                  <a:lnTo>
                    <a:pt x="1" y="37617"/>
                  </a:lnTo>
                  <a:lnTo>
                    <a:pt x="7145" y="37617"/>
                  </a:lnTo>
                  <a:lnTo>
                    <a:pt x="7145"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5" name="Google Shape;575;p9"/>
            <p:cNvSpPr/>
            <p:nvPr/>
          </p:nvSpPr>
          <p:spPr>
            <a:xfrm>
              <a:off x="5566752" y="3704000"/>
              <a:ext cx="230432" cy="1439488"/>
            </a:xfrm>
            <a:custGeom>
              <a:avLst/>
              <a:gdLst/>
              <a:ahLst/>
              <a:cxnLst/>
              <a:rect l="l" t="t" r="r" b="b"/>
              <a:pathLst>
                <a:path w="7201" h="44984" extrusionOk="0">
                  <a:moveTo>
                    <a:pt x="0" y="1"/>
                  </a:moveTo>
                  <a:lnTo>
                    <a:pt x="0" y="44984"/>
                  </a:lnTo>
                  <a:lnTo>
                    <a:pt x="7200" y="44984"/>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6" name="Google Shape;576;p9"/>
            <p:cNvSpPr/>
            <p:nvPr/>
          </p:nvSpPr>
          <p:spPr>
            <a:xfrm>
              <a:off x="5843584" y="3821888"/>
              <a:ext cx="230400" cy="1321600"/>
            </a:xfrm>
            <a:custGeom>
              <a:avLst/>
              <a:gdLst/>
              <a:ahLst/>
              <a:cxnLst/>
              <a:rect l="l" t="t" r="r" b="b"/>
              <a:pathLst>
                <a:path w="7200" h="41300" extrusionOk="0">
                  <a:moveTo>
                    <a:pt x="0" y="0"/>
                  </a:moveTo>
                  <a:lnTo>
                    <a:pt x="0" y="41300"/>
                  </a:lnTo>
                  <a:lnTo>
                    <a:pt x="7200" y="4130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7" name="Google Shape;577;p9"/>
            <p:cNvSpPr/>
            <p:nvPr/>
          </p:nvSpPr>
          <p:spPr>
            <a:xfrm>
              <a:off x="6120384" y="4329088"/>
              <a:ext cx="230432" cy="814400"/>
            </a:xfrm>
            <a:custGeom>
              <a:avLst/>
              <a:gdLst/>
              <a:ahLst/>
              <a:cxnLst/>
              <a:rect l="l" t="t" r="r" b="b"/>
              <a:pathLst>
                <a:path w="7201" h="25450" extrusionOk="0">
                  <a:moveTo>
                    <a:pt x="1" y="0"/>
                  </a:moveTo>
                  <a:lnTo>
                    <a:pt x="1" y="25450"/>
                  </a:lnTo>
                  <a:lnTo>
                    <a:pt x="7200" y="2545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8" name="Google Shape;578;p9"/>
            <p:cNvSpPr/>
            <p:nvPr/>
          </p:nvSpPr>
          <p:spPr>
            <a:xfrm>
              <a:off x="6399008" y="4120128"/>
              <a:ext cx="228608" cy="1023360"/>
            </a:xfrm>
            <a:custGeom>
              <a:avLst/>
              <a:gdLst/>
              <a:ahLst/>
              <a:cxnLst/>
              <a:rect l="l" t="t" r="r" b="b"/>
              <a:pathLst>
                <a:path w="7144" h="31980" extrusionOk="0">
                  <a:moveTo>
                    <a:pt x="0" y="1"/>
                  </a:moveTo>
                  <a:lnTo>
                    <a:pt x="0" y="31980"/>
                  </a:lnTo>
                  <a:lnTo>
                    <a:pt x="7144" y="31980"/>
                  </a:lnTo>
                  <a:lnTo>
                    <a:pt x="7144"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79" name="Google Shape;579;p9"/>
            <p:cNvSpPr/>
            <p:nvPr/>
          </p:nvSpPr>
          <p:spPr>
            <a:xfrm>
              <a:off x="6675808" y="4538048"/>
              <a:ext cx="230432" cy="605440"/>
            </a:xfrm>
            <a:custGeom>
              <a:avLst/>
              <a:gdLst/>
              <a:ahLst/>
              <a:cxnLst/>
              <a:rect l="l" t="t" r="r" b="b"/>
              <a:pathLst>
                <a:path w="7201" h="18920" extrusionOk="0">
                  <a:moveTo>
                    <a:pt x="1" y="0"/>
                  </a:moveTo>
                  <a:lnTo>
                    <a:pt x="1" y="18920"/>
                  </a:lnTo>
                  <a:lnTo>
                    <a:pt x="7200" y="18920"/>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0" name="Google Shape;580;p9"/>
            <p:cNvSpPr/>
            <p:nvPr/>
          </p:nvSpPr>
          <p:spPr>
            <a:xfrm>
              <a:off x="6952640" y="3939744"/>
              <a:ext cx="230432" cy="1203744"/>
            </a:xfrm>
            <a:custGeom>
              <a:avLst/>
              <a:gdLst/>
              <a:ahLst/>
              <a:cxnLst/>
              <a:rect l="l" t="t" r="r" b="b"/>
              <a:pathLst>
                <a:path w="7201" h="37617" extrusionOk="0">
                  <a:moveTo>
                    <a:pt x="0" y="1"/>
                  </a:moveTo>
                  <a:lnTo>
                    <a:pt x="0"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1" name="Google Shape;581;p9"/>
            <p:cNvSpPr/>
            <p:nvPr/>
          </p:nvSpPr>
          <p:spPr>
            <a:xfrm>
              <a:off x="7229472" y="4220160"/>
              <a:ext cx="230400" cy="923328"/>
            </a:xfrm>
            <a:custGeom>
              <a:avLst/>
              <a:gdLst/>
              <a:ahLst/>
              <a:cxnLst/>
              <a:rect l="l" t="t" r="r" b="b"/>
              <a:pathLst>
                <a:path w="7200" h="28854" extrusionOk="0">
                  <a:moveTo>
                    <a:pt x="0" y="0"/>
                  </a:moveTo>
                  <a:lnTo>
                    <a:pt x="0" y="28854"/>
                  </a:lnTo>
                  <a:lnTo>
                    <a:pt x="7200" y="28854"/>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2" name="Google Shape;582;p9"/>
            <p:cNvSpPr/>
            <p:nvPr/>
          </p:nvSpPr>
          <p:spPr>
            <a:xfrm>
              <a:off x="7506272" y="3768288"/>
              <a:ext cx="230432" cy="1375200"/>
            </a:xfrm>
            <a:custGeom>
              <a:avLst/>
              <a:gdLst/>
              <a:ahLst/>
              <a:cxnLst/>
              <a:rect l="l" t="t" r="r" b="b"/>
              <a:pathLst>
                <a:path w="7201" h="42975" extrusionOk="0">
                  <a:moveTo>
                    <a:pt x="1" y="1"/>
                  </a:moveTo>
                  <a:lnTo>
                    <a:pt x="1" y="42975"/>
                  </a:lnTo>
                  <a:lnTo>
                    <a:pt x="7200" y="42975"/>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3" name="Google Shape;583;p9"/>
            <p:cNvSpPr/>
            <p:nvPr/>
          </p:nvSpPr>
          <p:spPr>
            <a:xfrm>
              <a:off x="7784896" y="4004032"/>
              <a:ext cx="228608" cy="1139456"/>
            </a:xfrm>
            <a:custGeom>
              <a:avLst/>
              <a:gdLst/>
              <a:ahLst/>
              <a:cxnLst/>
              <a:rect l="l" t="t" r="r" b="b"/>
              <a:pathLst>
                <a:path w="7144" h="35608" extrusionOk="0">
                  <a:moveTo>
                    <a:pt x="0" y="1"/>
                  </a:moveTo>
                  <a:lnTo>
                    <a:pt x="0" y="35608"/>
                  </a:lnTo>
                  <a:lnTo>
                    <a:pt x="7144" y="35608"/>
                  </a:lnTo>
                  <a:lnTo>
                    <a:pt x="7144"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4" name="Google Shape;584;p9"/>
            <p:cNvSpPr/>
            <p:nvPr/>
          </p:nvSpPr>
          <p:spPr>
            <a:xfrm>
              <a:off x="8061696" y="3596864"/>
              <a:ext cx="230432" cy="1546624"/>
            </a:xfrm>
            <a:custGeom>
              <a:avLst/>
              <a:gdLst/>
              <a:ahLst/>
              <a:cxnLst/>
              <a:rect l="l" t="t" r="r" b="b"/>
              <a:pathLst>
                <a:path w="7201" h="48332" extrusionOk="0">
                  <a:moveTo>
                    <a:pt x="1" y="0"/>
                  </a:moveTo>
                  <a:lnTo>
                    <a:pt x="1" y="48332"/>
                  </a:lnTo>
                  <a:lnTo>
                    <a:pt x="7200" y="48332"/>
                  </a:lnTo>
                  <a:lnTo>
                    <a:pt x="7200"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5" name="Google Shape;585;p9"/>
            <p:cNvSpPr/>
            <p:nvPr/>
          </p:nvSpPr>
          <p:spPr>
            <a:xfrm>
              <a:off x="8338528" y="3514688"/>
              <a:ext cx="230400" cy="1628800"/>
            </a:xfrm>
            <a:custGeom>
              <a:avLst/>
              <a:gdLst/>
              <a:ahLst/>
              <a:cxnLst/>
              <a:rect l="l" t="t" r="r" b="b"/>
              <a:pathLst>
                <a:path w="7200" h="50900" extrusionOk="0">
                  <a:moveTo>
                    <a:pt x="0" y="1"/>
                  </a:moveTo>
                  <a:lnTo>
                    <a:pt x="0" y="50900"/>
                  </a:lnTo>
                  <a:lnTo>
                    <a:pt x="7200" y="50900"/>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6" name="Google Shape;586;p9"/>
            <p:cNvSpPr/>
            <p:nvPr/>
          </p:nvSpPr>
          <p:spPr>
            <a:xfrm>
              <a:off x="8615360" y="3939744"/>
              <a:ext cx="230400" cy="1203744"/>
            </a:xfrm>
            <a:custGeom>
              <a:avLst/>
              <a:gdLst/>
              <a:ahLst/>
              <a:cxnLst/>
              <a:rect l="l" t="t" r="r" b="b"/>
              <a:pathLst>
                <a:path w="7200" h="37617" extrusionOk="0">
                  <a:moveTo>
                    <a:pt x="0" y="1"/>
                  </a:moveTo>
                  <a:lnTo>
                    <a:pt x="0" y="37617"/>
                  </a:lnTo>
                  <a:lnTo>
                    <a:pt x="7200" y="37617"/>
                  </a:lnTo>
                  <a:lnTo>
                    <a:pt x="7200"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87" name="Google Shape;587;p9"/>
            <p:cNvSpPr/>
            <p:nvPr/>
          </p:nvSpPr>
          <p:spPr>
            <a:xfrm>
              <a:off x="8893952" y="3596864"/>
              <a:ext cx="228640" cy="1546624"/>
            </a:xfrm>
            <a:custGeom>
              <a:avLst/>
              <a:gdLst/>
              <a:ahLst/>
              <a:cxnLst/>
              <a:rect l="l" t="t" r="r" b="b"/>
              <a:pathLst>
                <a:path w="7145" h="48332" extrusionOk="0">
                  <a:moveTo>
                    <a:pt x="1" y="0"/>
                  </a:moveTo>
                  <a:lnTo>
                    <a:pt x="1" y="48332"/>
                  </a:lnTo>
                  <a:lnTo>
                    <a:pt x="7144" y="48332"/>
                  </a:lnTo>
                  <a:lnTo>
                    <a:pt x="7144"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grpSp>
        <p:nvGrpSpPr>
          <p:cNvPr id="588" name="Google Shape;588;p9"/>
          <p:cNvGrpSpPr/>
          <p:nvPr/>
        </p:nvGrpSpPr>
        <p:grpSpPr>
          <a:xfrm>
            <a:off x="28550" y="5814665"/>
            <a:ext cx="9094048" cy="1043561"/>
            <a:chOff x="28544" y="4157632"/>
            <a:chExt cx="9094048" cy="985856"/>
          </a:xfrm>
        </p:grpSpPr>
        <p:sp>
          <p:nvSpPr>
            <p:cNvPr id="589" name="Google Shape;589;p9"/>
            <p:cNvSpPr/>
            <p:nvPr/>
          </p:nvSpPr>
          <p:spPr>
            <a:xfrm>
              <a:off x="435744" y="4782720"/>
              <a:ext cx="92896" cy="360768"/>
            </a:xfrm>
            <a:custGeom>
              <a:avLst/>
              <a:gdLst/>
              <a:ahLst/>
              <a:cxnLst/>
              <a:rect l="l" t="t" r="r" b="b"/>
              <a:pathLst>
                <a:path w="2903" h="11274" extrusionOk="0">
                  <a:moveTo>
                    <a:pt x="1" y="0"/>
                  </a:moveTo>
                  <a:lnTo>
                    <a:pt x="1" y="11274"/>
                  </a:lnTo>
                  <a:lnTo>
                    <a:pt x="2903" y="11274"/>
                  </a:lnTo>
                  <a:lnTo>
                    <a:pt x="2903"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0" name="Google Shape;590;p9"/>
            <p:cNvSpPr/>
            <p:nvPr/>
          </p:nvSpPr>
          <p:spPr>
            <a:xfrm>
              <a:off x="300032" y="4638048"/>
              <a:ext cx="92896" cy="505440"/>
            </a:xfrm>
            <a:custGeom>
              <a:avLst/>
              <a:gdLst/>
              <a:ahLst/>
              <a:cxnLst/>
              <a:rect l="l" t="t" r="r" b="b"/>
              <a:pathLst>
                <a:path w="2903" h="15795" extrusionOk="0">
                  <a:moveTo>
                    <a:pt x="0" y="1"/>
                  </a:moveTo>
                  <a:lnTo>
                    <a:pt x="0" y="15795"/>
                  </a:lnTo>
                  <a:lnTo>
                    <a:pt x="2902" y="15795"/>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1" name="Google Shape;591;p9"/>
            <p:cNvSpPr/>
            <p:nvPr/>
          </p:nvSpPr>
          <p:spPr>
            <a:xfrm>
              <a:off x="164288" y="4571968"/>
              <a:ext cx="92896" cy="571520"/>
            </a:xfrm>
            <a:custGeom>
              <a:avLst/>
              <a:gdLst/>
              <a:ahLst/>
              <a:cxnLst/>
              <a:rect l="l" t="t" r="r" b="b"/>
              <a:pathLst>
                <a:path w="2903" h="17860" extrusionOk="0">
                  <a:moveTo>
                    <a:pt x="1" y="1"/>
                  </a:moveTo>
                  <a:lnTo>
                    <a:pt x="1" y="17860"/>
                  </a:lnTo>
                  <a:lnTo>
                    <a:pt x="2903" y="17860"/>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2" name="Google Shape;592;p9"/>
            <p:cNvSpPr/>
            <p:nvPr/>
          </p:nvSpPr>
          <p:spPr>
            <a:xfrm>
              <a:off x="28544" y="4739840"/>
              <a:ext cx="92928" cy="403648"/>
            </a:xfrm>
            <a:custGeom>
              <a:avLst/>
              <a:gdLst/>
              <a:ahLst/>
              <a:cxnLst/>
              <a:rect l="l" t="t" r="r" b="b"/>
              <a:pathLst>
                <a:path w="2904" h="12614" extrusionOk="0">
                  <a:moveTo>
                    <a:pt x="1" y="1"/>
                  </a:moveTo>
                  <a:lnTo>
                    <a:pt x="1" y="12614"/>
                  </a:lnTo>
                  <a:lnTo>
                    <a:pt x="2903" y="12614"/>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3" name="Google Shape;593;p9"/>
            <p:cNvSpPr/>
            <p:nvPr/>
          </p:nvSpPr>
          <p:spPr>
            <a:xfrm>
              <a:off x="712576"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4" name="Google Shape;594;p9"/>
            <p:cNvSpPr/>
            <p:nvPr/>
          </p:nvSpPr>
          <p:spPr>
            <a:xfrm>
              <a:off x="576832" y="4752352"/>
              <a:ext cx="94688" cy="391136"/>
            </a:xfrm>
            <a:custGeom>
              <a:avLst/>
              <a:gdLst/>
              <a:ahLst/>
              <a:cxnLst/>
              <a:rect l="l" t="t" r="r" b="b"/>
              <a:pathLst>
                <a:path w="2959" h="12223" extrusionOk="0">
                  <a:moveTo>
                    <a:pt x="1" y="1"/>
                  </a:moveTo>
                  <a:lnTo>
                    <a:pt x="1" y="12223"/>
                  </a:lnTo>
                  <a:lnTo>
                    <a:pt x="2959" y="12223"/>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5" name="Google Shape;595;p9"/>
            <p:cNvSpPr/>
            <p:nvPr/>
          </p:nvSpPr>
          <p:spPr>
            <a:xfrm>
              <a:off x="989408" y="4386240"/>
              <a:ext cx="94656" cy="757248"/>
            </a:xfrm>
            <a:custGeom>
              <a:avLst/>
              <a:gdLst/>
              <a:ahLst/>
              <a:cxnLst/>
              <a:rect l="l" t="t" r="r" b="b"/>
              <a:pathLst>
                <a:path w="2958" h="23664" extrusionOk="0">
                  <a:moveTo>
                    <a:pt x="0" y="0"/>
                  </a:moveTo>
                  <a:lnTo>
                    <a:pt x="0" y="23664"/>
                  </a:lnTo>
                  <a:lnTo>
                    <a:pt x="2958" y="2366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6" name="Google Shape;596;p9"/>
            <p:cNvSpPr/>
            <p:nvPr/>
          </p:nvSpPr>
          <p:spPr>
            <a:xfrm>
              <a:off x="853664" y="4500544"/>
              <a:ext cx="94688" cy="642944"/>
            </a:xfrm>
            <a:custGeom>
              <a:avLst/>
              <a:gdLst/>
              <a:ahLst/>
              <a:cxnLst/>
              <a:rect l="l" t="t" r="r" b="b"/>
              <a:pathLst>
                <a:path w="2959" h="20092" extrusionOk="0">
                  <a:moveTo>
                    <a:pt x="0" y="0"/>
                  </a:moveTo>
                  <a:lnTo>
                    <a:pt x="0" y="20092"/>
                  </a:lnTo>
                  <a:lnTo>
                    <a:pt x="2958" y="20092"/>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7" name="Google Shape;597;p9"/>
            <p:cNvSpPr/>
            <p:nvPr/>
          </p:nvSpPr>
          <p:spPr>
            <a:xfrm>
              <a:off x="1266208" y="4721984"/>
              <a:ext cx="94688" cy="421504"/>
            </a:xfrm>
            <a:custGeom>
              <a:avLst/>
              <a:gdLst/>
              <a:ahLst/>
              <a:cxnLst/>
              <a:rect l="l" t="t" r="r" b="b"/>
              <a:pathLst>
                <a:path w="2959" h="13172" extrusionOk="0">
                  <a:moveTo>
                    <a:pt x="1" y="1"/>
                  </a:moveTo>
                  <a:lnTo>
                    <a:pt x="1" y="13172"/>
                  </a:lnTo>
                  <a:lnTo>
                    <a:pt x="2959" y="1317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8" name="Google Shape;598;p9"/>
            <p:cNvSpPr/>
            <p:nvPr/>
          </p:nvSpPr>
          <p:spPr>
            <a:xfrm>
              <a:off x="1130496" y="4518400"/>
              <a:ext cx="94688" cy="625088"/>
            </a:xfrm>
            <a:custGeom>
              <a:avLst/>
              <a:gdLst/>
              <a:ahLst/>
              <a:cxnLst/>
              <a:rect l="l" t="t" r="r" b="b"/>
              <a:pathLst>
                <a:path w="2959" h="19534" extrusionOk="0">
                  <a:moveTo>
                    <a:pt x="0" y="0"/>
                  </a:moveTo>
                  <a:lnTo>
                    <a:pt x="0" y="19534"/>
                  </a:lnTo>
                  <a:lnTo>
                    <a:pt x="2958" y="1953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599" name="Google Shape;599;p9"/>
            <p:cNvSpPr/>
            <p:nvPr/>
          </p:nvSpPr>
          <p:spPr>
            <a:xfrm>
              <a:off x="1543040"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0" name="Google Shape;600;p9"/>
            <p:cNvSpPr/>
            <p:nvPr/>
          </p:nvSpPr>
          <p:spPr>
            <a:xfrm>
              <a:off x="1407296" y="4721984"/>
              <a:ext cx="94688" cy="421504"/>
            </a:xfrm>
            <a:custGeom>
              <a:avLst/>
              <a:gdLst/>
              <a:ahLst/>
              <a:cxnLst/>
              <a:rect l="l" t="t" r="r" b="b"/>
              <a:pathLst>
                <a:path w="2959" h="13172" extrusionOk="0">
                  <a:moveTo>
                    <a:pt x="1" y="1"/>
                  </a:moveTo>
                  <a:lnTo>
                    <a:pt x="1" y="13172"/>
                  </a:lnTo>
                  <a:lnTo>
                    <a:pt x="2959" y="1317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1" name="Google Shape;601;p9"/>
            <p:cNvSpPr/>
            <p:nvPr/>
          </p:nvSpPr>
          <p:spPr>
            <a:xfrm>
              <a:off x="1821632" y="4457664"/>
              <a:ext cx="92896" cy="685824"/>
            </a:xfrm>
            <a:custGeom>
              <a:avLst/>
              <a:gdLst/>
              <a:ahLst/>
              <a:cxnLst/>
              <a:rect l="l" t="t" r="r" b="b"/>
              <a:pathLst>
                <a:path w="2903" h="21432" extrusionOk="0">
                  <a:moveTo>
                    <a:pt x="1" y="1"/>
                  </a:moveTo>
                  <a:lnTo>
                    <a:pt x="1" y="21432"/>
                  </a:lnTo>
                  <a:lnTo>
                    <a:pt x="2903" y="21432"/>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2" name="Google Shape;602;p9"/>
            <p:cNvSpPr/>
            <p:nvPr/>
          </p:nvSpPr>
          <p:spPr>
            <a:xfrm>
              <a:off x="1685920" y="4638048"/>
              <a:ext cx="94688" cy="505440"/>
            </a:xfrm>
            <a:custGeom>
              <a:avLst/>
              <a:gdLst/>
              <a:ahLst/>
              <a:cxnLst/>
              <a:rect l="l" t="t" r="r" b="b"/>
              <a:pathLst>
                <a:path w="2959" h="15795" extrusionOk="0">
                  <a:moveTo>
                    <a:pt x="0" y="1"/>
                  </a:moveTo>
                  <a:lnTo>
                    <a:pt x="0" y="15795"/>
                  </a:lnTo>
                  <a:lnTo>
                    <a:pt x="2958" y="15795"/>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3" name="Google Shape;603;p9"/>
            <p:cNvSpPr/>
            <p:nvPr/>
          </p:nvSpPr>
          <p:spPr>
            <a:xfrm>
              <a:off x="2098464" y="4386240"/>
              <a:ext cx="94688" cy="757248"/>
            </a:xfrm>
            <a:custGeom>
              <a:avLst/>
              <a:gdLst/>
              <a:ahLst/>
              <a:cxnLst/>
              <a:rect l="l" t="t" r="r" b="b"/>
              <a:pathLst>
                <a:path w="2959" h="23664" extrusionOk="0">
                  <a:moveTo>
                    <a:pt x="0" y="0"/>
                  </a:moveTo>
                  <a:lnTo>
                    <a:pt x="0" y="23664"/>
                  </a:lnTo>
                  <a:lnTo>
                    <a:pt x="2958" y="2366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4" name="Google Shape;604;p9"/>
            <p:cNvSpPr/>
            <p:nvPr/>
          </p:nvSpPr>
          <p:spPr>
            <a:xfrm>
              <a:off x="1962720" y="4457664"/>
              <a:ext cx="94688" cy="685824"/>
            </a:xfrm>
            <a:custGeom>
              <a:avLst/>
              <a:gdLst/>
              <a:ahLst/>
              <a:cxnLst/>
              <a:rect l="l" t="t" r="r" b="b"/>
              <a:pathLst>
                <a:path w="2959" h="21432" extrusionOk="0">
                  <a:moveTo>
                    <a:pt x="1" y="1"/>
                  </a:moveTo>
                  <a:lnTo>
                    <a:pt x="1" y="21432"/>
                  </a:lnTo>
                  <a:lnTo>
                    <a:pt x="2959" y="2143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5" name="Google Shape;605;p9"/>
            <p:cNvSpPr/>
            <p:nvPr/>
          </p:nvSpPr>
          <p:spPr>
            <a:xfrm>
              <a:off x="2375296" y="4711264"/>
              <a:ext cx="94656" cy="432224"/>
            </a:xfrm>
            <a:custGeom>
              <a:avLst/>
              <a:gdLst/>
              <a:ahLst/>
              <a:cxnLst/>
              <a:rect l="l" t="t" r="r" b="b"/>
              <a:pathLst>
                <a:path w="2958" h="13507" extrusionOk="0">
                  <a:moveTo>
                    <a:pt x="0" y="1"/>
                  </a:moveTo>
                  <a:lnTo>
                    <a:pt x="0" y="13507"/>
                  </a:lnTo>
                  <a:lnTo>
                    <a:pt x="2958" y="13507"/>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6" name="Google Shape;606;p9"/>
            <p:cNvSpPr/>
            <p:nvPr/>
          </p:nvSpPr>
          <p:spPr>
            <a:xfrm>
              <a:off x="2239552" y="4536256"/>
              <a:ext cx="94688" cy="607232"/>
            </a:xfrm>
            <a:custGeom>
              <a:avLst/>
              <a:gdLst/>
              <a:ahLst/>
              <a:cxnLst/>
              <a:rect l="l" t="t" r="r" b="b"/>
              <a:pathLst>
                <a:path w="2959" h="18976" extrusionOk="0">
                  <a:moveTo>
                    <a:pt x="0" y="0"/>
                  </a:moveTo>
                  <a:lnTo>
                    <a:pt x="0" y="18976"/>
                  </a:lnTo>
                  <a:lnTo>
                    <a:pt x="2958" y="18976"/>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7" name="Google Shape;607;p9"/>
            <p:cNvSpPr/>
            <p:nvPr/>
          </p:nvSpPr>
          <p:spPr>
            <a:xfrm>
              <a:off x="2652096" y="4704128"/>
              <a:ext cx="94688" cy="439360"/>
            </a:xfrm>
            <a:custGeom>
              <a:avLst/>
              <a:gdLst/>
              <a:ahLst/>
              <a:cxnLst/>
              <a:rect l="l" t="t" r="r" b="b"/>
              <a:pathLst>
                <a:path w="2959" h="13730" extrusionOk="0">
                  <a:moveTo>
                    <a:pt x="1" y="1"/>
                  </a:moveTo>
                  <a:lnTo>
                    <a:pt x="1" y="13730"/>
                  </a:lnTo>
                  <a:lnTo>
                    <a:pt x="2959" y="13730"/>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8" name="Google Shape;608;p9"/>
            <p:cNvSpPr/>
            <p:nvPr/>
          </p:nvSpPr>
          <p:spPr>
            <a:xfrm>
              <a:off x="2516384" y="4764864"/>
              <a:ext cx="94688" cy="378624"/>
            </a:xfrm>
            <a:custGeom>
              <a:avLst/>
              <a:gdLst/>
              <a:ahLst/>
              <a:cxnLst/>
              <a:rect l="l" t="t" r="r" b="b"/>
              <a:pathLst>
                <a:path w="2959" h="11832" extrusionOk="0">
                  <a:moveTo>
                    <a:pt x="0" y="0"/>
                  </a:moveTo>
                  <a:lnTo>
                    <a:pt x="0" y="11832"/>
                  </a:lnTo>
                  <a:lnTo>
                    <a:pt x="2958" y="11832"/>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09" name="Google Shape;609;p9"/>
            <p:cNvSpPr/>
            <p:nvPr/>
          </p:nvSpPr>
          <p:spPr>
            <a:xfrm>
              <a:off x="2930720" y="4421952"/>
              <a:ext cx="92896" cy="721536"/>
            </a:xfrm>
            <a:custGeom>
              <a:avLst/>
              <a:gdLst/>
              <a:ahLst/>
              <a:cxnLst/>
              <a:rect l="l" t="t" r="r" b="b"/>
              <a:pathLst>
                <a:path w="2903" h="22548" extrusionOk="0">
                  <a:moveTo>
                    <a:pt x="0" y="1"/>
                  </a:moveTo>
                  <a:lnTo>
                    <a:pt x="0" y="22548"/>
                  </a:lnTo>
                  <a:lnTo>
                    <a:pt x="2902" y="22548"/>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0" name="Google Shape;610;p9"/>
            <p:cNvSpPr/>
            <p:nvPr/>
          </p:nvSpPr>
          <p:spPr>
            <a:xfrm>
              <a:off x="2794976" y="4638048"/>
              <a:ext cx="92896" cy="505440"/>
            </a:xfrm>
            <a:custGeom>
              <a:avLst/>
              <a:gdLst/>
              <a:ahLst/>
              <a:cxnLst/>
              <a:rect l="l" t="t" r="r" b="b"/>
              <a:pathLst>
                <a:path w="2903" h="15795" extrusionOk="0">
                  <a:moveTo>
                    <a:pt x="1" y="1"/>
                  </a:moveTo>
                  <a:lnTo>
                    <a:pt x="1" y="15795"/>
                  </a:lnTo>
                  <a:lnTo>
                    <a:pt x="2903" y="15795"/>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1" name="Google Shape;611;p9"/>
            <p:cNvSpPr/>
            <p:nvPr/>
          </p:nvSpPr>
          <p:spPr>
            <a:xfrm>
              <a:off x="3207520" y="4386240"/>
              <a:ext cx="94688" cy="757248"/>
            </a:xfrm>
            <a:custGeom>
              <a:avLst/>
              <a:gdLst/>
              <a:ahLst/>
              <a:cxnLst/>
              <a:rect l="l" t="t" r="r" b="b"/>
              <a:pathLst>
                <a:path w="2959" h="23664" extrusionOk="0">
                  <a:moveTo>
                    <a:pt x="1" y="0"/>
                  </a:moveTo>
                  <a:lnTo>
                    <a:pt x="1" y="23664"/>
                  </a:lnTo>
                  <a:lnTo>
                    <a:pt x="2959" y="23664"/>
                  </a:lnTo>
                  <a:lnTo>
                    <a:pt x="2959"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2" name="Google Shape;612;p9"/>
            <p:cNvSpPr/>
            <p:nvPr/>
          </p:nvSpPr>
          <p:spPr>
            <a:xfrm>
              <a:off x="3071808" y="4314784"/>
              <a:ext cx="94688" cy="828704"/>
            </a:xfrm>
            <a:custGeom>
              <a:avLst/>
              <a:gdLst/>
              <a:ahLst/>
              <a:cxnLst/>
              <a:rect l="l" t="t" r="r" b="b"/>
              <a:pathLst>
                <a:path w="2959" h="25897" extrusionOk="0">
                  <a:moveTo>
                    <a:pt x="0" y="1"/>
                  </a:moveTo>
                  <a:lnTo>
                    <a:pt x="0" y="25897"/>
                  </a:lnTo>
                  <a:lnTo>
                    <a:pt x="2958" y="25897"/>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3" name="Google Shape;613;p9"/>
            <p:cNvSpPr/>
            <p:nvPr/>
          </p:nvSpPr>
          <p:spPr>
            <a:xfrm>
              <a:off x="3484352" y="4530912"/>
              <a:ext cx="94688" cy="612576"/>
            </a:xfrm>
            <a:custGeom>
              <a:avLst/>
              <a:gdLst/>
              <a:ahLst/>
              <a:cxnLst/>
              <a:rect l="l" t="t" r="r" b="b"/>
              <a:pathLst>
                <a:path w="2959" h="19143" extrusionOk="0">
                  <a:moveTo>
                    <a:pt x="0" y="0"/>
                  </a:moveTo>
                  <a:lnTo>
                    <a:pt x="0" y="19143"/>
                  </a:lnTo>
                  <a:lnTo>
                    <a:pt x="2958" y="19143"/>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4" name="Google Shape;614;p9"/>
            <p:cNvSpPr/>
            <p:nvPr/>
          </p:nvSpPr>
          <p:spPr>
            <a:xfrm>
              <a:off x="3348608" y="4314784"/>
              <a:ext cx="94688" cy="828704"/>
            </a:xfrm>
            <a:custGeom>
              <a:avLst/>
              <a:gdLst/>
              <a:ahLst/>
              <a:cxnLst/>
              <a:rect l="l" t="t" r="r" b="b"/>
              <a:pathLst>
                <a:path w="2959" h="25897" extrusionOk="0">
                  <a:moveTo>
                    <a:pt x="1" y="1"/>
                  </a:moveTo>
                  <a:lnTo>
                    <a:pt x="1" y="25897"/>
                  </a:lnTo>
                  <a:lnTo>
                    <a:pt x="2959" y="25897"/>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5" name="Google Shape;615;p9"/>
            <p:cNvSpPr/>
            <p:nvPr/>
          </p:nvSpPr>
          <p:spPr>
            <a:xfrm>
              <a:off x="3761184" y="4739840"/>
              <a:ext cx="94656" cy="403648"/>
            </a:xfrm>
            <a:custGeom>
              <a:avLst/>
              <a:gdLst/>
              <a:ahLst/>
              <a:cxnLst/>
              <a:rect l="l" t="t" r="r" b="b"/>
              <a:pathLst>
                <a:path w="2958"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6" name="Google Shape;616;p9"/>
            <p:cNvSpPr/>
            <p:nvPr/>
          </p:nvSpPr>
          <p:spPr>
            <a:xfrm>
              <a:off x="3625440" y="4457664"/>
              <a:ext cx="94688" cy="685824"/>
            </a:xfrm>
            <a:custGeom>
              <a:avLst/>
              <a:gdLst/>
              <a:ahLst/>
              <a:cxnLst/>
              <a:rect l="l" t="t" r="r" b="b"/>
              <a:pathLst>
                <a:path w="2959" h="21432" extrusionOk="0">
                  <a:moveTo>
                    <a:pt x="0" y="1"/>
                  </a:moveTo>
                  <a:lnTo>
                    <a:pt x="0" y="21432"/>
                  </a:lnTo>
                  <a:lnTo>
                    <a:pt x="2958" y="2143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7" name="Google Shape;617;p9"/>
            <p:cNvSpPr/>
            <p:nvPr/>
          </p:nvSpPr>
          <p:spPr>
            <a:xfrm>
              <a:off x="4037984" y="4638048"/>
              <a:ext cx="94688" cy="505440"/>
            </a:xfrm>
            <a:custGeom>
              <a:avLst/>
              <a:gdLst/>
              <a:ahLst/>
              <a:cxnLst/>
              <a:rect l="l" t="t" r="r" b="b"/>
              <a:pathLst>
                <a:path w="2959" h="15795" extrusionOk="0">
                  <a:moveTo>
                    <a:pt x="1" y="1"/>
                  </a:moveTo>
                  <a:lnTo>
                    <a:pt x="1" y="15795"/>
                  </a:lnTo>
                  <a:lnTo>
                    <a:pt x="2959" y="15795"/>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8" name="Google Shape;618;p9"/>
            <p:cNvSpPr/>
            <p:nvPr/>
          </p:nvSpPr>
          <p:spPr>
            <a:xfrm>
              <a:off x="3902272" y="4836288"/>
              <a:ext cx="94656" cy="307200"/>
            </a:xfrm>
            <a:custGeom>
              <a:avLst/>
              <a:gdLst/>
              <a:ahLst/>
              <a:cxnLst/>
              <a:rect l="l" t="t" r="r" b="b"/>
              <a:pathLst>
                <a:path w="2958" h="9600" extrusionOk="0">
                  <a:moveTo>
                    <a:pt x="0" y="1"/>
                  </a:moveTo>
                  <a:lnTo>
                    <a:pt x="0" y="9600"/>
                  </a:lnTo>
                  <a:lnTo>
                    <a:pt x="2958" y="960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19" name="Google Shape;619;p9"/>
            <p:cNvSpPr/>
            <p:nvPr/>
          </p:nvSpPr>
          <p:spPr>
            <a:xfrm>
              <a:off x="4316608" y="4638048"/>
              <a:ext cx="94688" cy="505440"/>
            </a:xfrm>
            <a:custGeom>
              <a:avLst/>
              <a:gdLst/>
              <a:ahLst/>
              <a:cxnLst/>
              <a:rect l="l" t="t" r="r" b="b"/>
              <a:pathLst>
                <a:path w="2959" h="15795" extrusionOk="0">
                  <a:moveTo>
                    <a:pt x="0" y="1"/>
                  </a:moveTo>
                  <a:lnTo>
                    <a:pt x="0" y="15795"/>
                  </a:lnTo>
                  <a:lnTo>
                    <a:pt x="2958" y="15795"/>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0" name="Google Shape;620;p9"/>
            <p:cNvSpPr/>
            <p:nvPr/>
          </p:nvSpPr>
          <p:spPr>
            <a:xfrm>
              <a:off x="4180864"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1" name="Google Shape;621;p9"/>
            <p:cNvSpPr/>
            <p:nvPr/>
          </p:nvSpPr>
          <p:spPr>
            <a:xfrm>
              <a:off x="4593408" y="4571968"/>
              <a:ext cx="94688" cy="571520"/>
            </a:xfrm>
            <a:custGeom>
              <a:avLst/>
              <a:gdLst/>
              <a:ahLst/>
              <a:cxnLst/>
              <a:rect l="l" t="t" r="r" b="b"/>
              <a:pathLst>
                <a:path w="2959" h="17860" extrusionOk="0">
                  <a:moveTo>
                    <a:pt x="1" y="1"/>
                  </a:moveTo>
                  <a:lnTo>
                    <a:pt x="1" y="17860"/>
                  </a:lnTo>
                  <a:lnTo>
                    <a:pt x="2959" y="17860"/>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2" name="Google Shape;622;p9"/>
            <p:cNvSpPr/>
            <p:nvPr/>
          </p:nvSpPr>
          <p:spPr>
            <a:xfrm>
              <a:off x="4457696"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3" name="Google Shape;623;p9"/>
            <p:cNvSpPr/>
            <p:nvPr/>
          </p:nvSpPr>
          <p:spPr>
            <a:xfrm>
              <a:off x="4870240" y="4386240"/>
              <a:ext cx="94688" cy="757248"/>
            </a:xfrm>
            <a:custGeom>
              <a:avLst/>
              <a:gdLst/>
              <a:ahLst/>
              <a:cxnLst/>
              <a:rect l="l" t="t" r="r" b="b"/>
              <a:pathLst>
                <a:path w="2959" h="23664" extrusionOk="0">
                  <a:moveTo>
                    <a:pt x="0" y="0"/>
                  </a:moveTo>
                  <a:lnTo>
                    <a:pt x="0" y="23664"/>
                  </a:lnTo>
                  <a:lnTo>
                    <a:pt x="2958" y="23664"/>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4" name="Google Shape;624;p9"/>
            <p:cNvSpPr/>
            <p:nvPr/>
          </p:nvSpPr>
          <p:spPr>
            <a:xfrm>
              <a:off x="4734496" y="4457664"/>
              <a:ext cx="94688" cy="685824"/>
            </a:xfrm>
            <a:custGeom>
              <a:avLst/>
              <a:gdLst/>
              <a:ahLst/>
              <a:cxnLst/>
              <a:rect l="l" t="t" r="r" b="b"/>
              <a:pathLst>
                <a:path w="2959" h="21432" extrusionOk="0">
                  <a:moveTo>
                    <a:pt x="1" y="1"/>
                  </a:moveTo>
                  <a:lnTo>
                    <a:pt x="1" y="21432"/>
                  </a:lnTo>
                  <a:lnTo>
                    <a:pt x="2959" y="2143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5" name="Google Shape;625;p9"/>
            <p:cNvSpPr/>
            <p:nvPr/>
          </p:nvSpPr>
          <p:spPr>
            <a:xfrm>
              <a:off x="5147072" y="4157632"/>
              <a:ext cx="94656" cy="985856"/>
            </a:xfrm>
            <a:custGeom>
              <a:avLst/>
              <a:gdLst/>
              <a:ahLst/>
              <a:cxnLst/>
              <a:rect l="l" t="t" r="r" b="b"/>
              <a:pathLst>
                <a:path w="2958" h="30808" extrusionOk="0">
                  <a:moveTo>
                    <a:pt x="0" y="1"/>
                  </a:moveTo>
                  <a:lnTo>
                    <a:pt x="0" y="30808"/>
                  </a:lnTo>
                  <a:lnTo>
                    <a:pt x="2958" y="30808"/>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6" name="Google Shape;626;p9"/>
            <p:cNvSpPr/>
            <p:nvPr/>
          </p:nvSpPr>
          <p:spPr>
            <a:xfrm>
              <a:off x="5011328" y="4229088"/>
              <a:ext cx="94688" cy="914400"/>
            </a:xfrm>
            <a:custGeom>
              <a:avLst/>
              <a:gdLst/>
              <a:ahLst/>
              <a:cxnLst/>
              <a:rect l="l" t="t" r="r" b="b"/>
              <a:pathLst>
                <a:path w="2959" h="28575" extrusionOk="0">
                  <a:moveTo>
                    <a:pt x="0" y="0"/>
                  </a:moveTo>
                  <a:lnTo>
                    <a:pt x="0" y="28575"/>
                  </a:lnTo>
                  <a:lnTo>
                    <a:pt x="2958" y="28575"/>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7" name="Google Shape;627;p9"/>
            <p:cNvSpPr/>
            <p:nvPr/>
          </p:nvSpPr>
          <p:spPr>
            <a:xfrm>
              <a:off x="5425664"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8" name="Google Shape;628;p9"/>
            <p:cNvSpPr/>
            <p:nvPr/>
          </p:nvSpPr>
          <p:spPr>
            <a:xfrm>
              <a:off x="5289920" y="4277280"/>
              <a:ext cx="94688" cy="866208"/>
            </a:xfrm>
            <a:custGeom>
              <a:avLst/>
              <a:gdLst/>
              <a:ahLst/>
              <a:cxnLst/>
              <a:rect l="l" t="t" r="r" b="b"/>
              <a:pathLst>
                <a:path w="2959" h="27069" extrusionOk="0">
                  <a:moveTo>
                    <a:pt x="1" y="1"/>
                  </a:moveTo>
                  <a:lnTo>
                    <a:pt x="1" y="27069"/>
                  </a:lnTo>
                  <a:lnTo>
                    <a:pt x="2959" y="27069"/>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29" name="Google Shape;629;p9"/>
            <p:cNvSpPr/>
            <p:nvPr/>
          </p:nvSpPr>
          <p:spPr>
            <a:xfrm>
              <a:off x="5702496" y="4721984"/>
              <a:ext cx="94688" cy="421504"/>
            </a:xfrm>
            <a:custGeom>
              <a:avLst/>
              <a:gdLst/>
              <a:ahLst/>
              <a:cxnLst/>
              <a:rect l="l" t="t" r="r" b="b"/>
              <a:pathLst>
                <a:path w="2959" h="13172" extrusionOk="0">
                  <a:moveTo>
                    <a:pt x="0" y="1"/>
                  </a:moveTo>
                  <a:lnTo>
                    <a:pt x="0" y="13172"/>
                  </a:lnTo>
                  <a:lnTo>
                    <a:pt x="2958" y="1317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0" name="Google Shape;630;p9"/>
            <p:cNvSpPr/>
            <p:nvPr/>
          </p:nvSpPr>
          <p:spPr>
            <a:xfrm>
              <a:off x="5566752" y="4416608"/>
              <a:ext cx="94688" cy="726880"/>
            </a:xfrm>
            <a:custGeom>
              <a:avLst/>
              <a:gdLst/>
              <a:ahLst/>
              <a:cxnLst/>
              <a:rect l="l" t="t" r="r" b="b"/>
              <a:pathLst>
                <a:path w="2959" h="22715" extrusionOk="0">
                  <a:moveTo>
                    <a:pt x="0" y="0"/>
                  </a:moveTo>
                  <a:lnTo>
                    <a:pt x="0" y="22715"/>
                  </a:lnTo>
                  <a:lnTo>
                    <a:pt x="2958" y="22715"/>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1" name="Google Shape;631;p9"/>
            <p:cNvSpPr/>
            <p:nvPr/>
          </p:nvSpPr>
          <p:spPr>
            <a:xfrm>
              <a:off x="5979296" y="4571968"/>
              <a:ext cx="94688" cy="571520"/>
            </a:xfrm>
            <a:custGeom>
              <a:avLst/>
              <a:gdLst/>
              <a:ahLst/>
              <a:cxnLst/>
              <a:rect l="l" t="t" r="r" b="b"/>
              <a:pathLst>
                <a:path w="2959" h="17860" extrusionOk="0">
                  <a:moveTo>
                    <a:pt x="1" y="1"/>
                  </a:moveTo>
                  <a:lnTo>
                    <a:pt x="1" y="17860"/>
                  </a:lnTo>
                  <a:lnTo>
                    <a:pt x="2959" y="17860"/>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2" name="Google Shape;632;p9"/>
            <p:cNvSpPr/>
            <p:nvPr/>
          </p:nvSpPr>
          <p:spPr>
            <a:xfrm>
              <a:off x="5843584" y="4813088"/>
              <a:ext cx="94688" cy="330400"/>
            </a:xfrm>
            <a:custGeom>
              <a:avLst/>
              <a:gdLst/>
              <a:ahLst/>
              <a:cxnLst/>
              <a:rect l="l" t="t" r="r" b="b"/>
              <a:pathLst>
                <a:path w="2959" h="10325" extrusionOk="0">
                  <a:moveTo>
                    <a:pt x="0" y="0"/>
                  </a:moveTo>
                  <a:lnTo>
                    <a:pt x="0" y="10325"/>
                  </a:lnTo>
                  <a:lnTo>
                    <a:pt x="2958" y="10325"/>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3" name="Google Shape;633;p9"/>
            <p:cNvSpPr/>
            <p:nvPr/>
          </p:nvSpPr>
          <p:spPr>
            <a:xfrm>
              <a:off x="6256128" y="4807712"/>
              <a:ext cx="94688" cy="335776"/>
            </a:xfrm>
            <a:custGeom>
              <a:avLst/>
              <a:gdLst/>
              <a:ahLst/>
              <a:cxnLst/>
              <a:rect l="l" t="t" r="r" b="b"/>
              <a:pathLst>
                <a:path w="2959" h="10493" extrusionOk="0">
                  <a:moveTo>
                    <a:pt x="0" y="1"/>
                  </a:moveTo>
                  <a:lnTo>
                    <a:pt x="0" y="10493"/>
                  </a:lnTo>
                  <a:lnTo>
                    <a:pt x="2958" y="10493"/>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4" name="Google Shape;634;p9"/>
            <p:cNvSpPr/>
            <p:nvPr/>
          </p:nvSpPr>
          <p:spPr>
            <a:xfrm>
              <a:off x="6120384" y="4739840"/>
              <a:ext cx="94688" cy="403648"/>
            </a:xfrm>
            <a:custGeom>
              <a:avLst/>
              <a:gdLst/>
              <a:ahLst/>
              <a:cxnLst/>
              <a:rect l="l" t="t" r="r" b="b"/>
              <a:pathLst>
                <a:path w="2959" h="12614" extrusionOk="0">
                  <a:moveTo>
                    <a:pt x="1" y="1"/>
                  </a:moveTo>
                  <a:lnTo>
                    <a:pt x="1" y="12614"/>
                  </a:lnTo>
                  <a:lnTo>
                    <a:pt x="2959" y="12614"/>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5" name="Google Shape;635;p9"/>
            <p:cNvSpPr/>
            <p:nvPr/>
          </p:nvSpPr>
          <p:spPr>
            <a:xfrm>
              <a:off x="6534720" y="4505888"/>
              <a:ext cx="92896" cy="637600"/>
            </a:xfrm>
            <a:custGeom>
              <a:avLst/>
              <a:gdLst/>
              <a:ahLst/>
              <a:cxnLst/>
              <a:rect l="l" t="t" r="r" b="b"/>
              <a:pathLst>
                <a:path w="2903" h="19925" extrusionOk="0">
                  <a:moveTo>
                    <a:pt x="1" y="1"/>
                  </a:moveTo>
                  <a:lnTo>
                    <a:pt x="1" y="19925"/>
                  </a:lnTo>
                  <a:lnTo>
                    <a:pt x="2903" y="19925"/>
                  </a:lnTo>
                  <a:lnTo>
                    <a:pt x="2903"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6" name="Google Shape;636;p9"/>
            <p:cNvSpPr/>
            <p:nvPr/>
          </p:nvSpPr>
          <p:spPr>
            <a:xfrm>
              <a:off x="6399008" y="4739840"/>
              <a:ext cx="92896" cy="403648"/>
            </a:xfrm>
            <a:custGeom>
              <a:avLst/>
              <a:gdLst/>
              <a:ahLst/>
              <a:cxnLst/>
              <a:rect l="l" t="t" r="r" b="b"/>
              <a:pathLst>
                <a:path w="2903" h="12614" extrusionOk="0">
                  <a:moveTo>
                    <a:pt x="0" y="1"/>
                  </a:moveTo>
                  <a:lnTo>
                    <a:pt x="0" y="12614"/>
                  </a:lnTo>
                  <a:lnTo>
                    <a:pt x="2902" y="12614"/>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7" name="Google Shape;637;p9"/>
            <p:cNvSpPr/>
            <p:nvPr/>
          </p:nvSpPr>
          <p:spPr>
            <a:xfrm>
              <a:off x="6811552" y="4807712"/>
              <a:ext cx="94688" cy="335776"/>
            </a:xfrm>
            <a:custGeom>
              <a:avLst/>
              <a:gdLst/>
              <a:ahLst/>
              <a:cxnLst/>
              <a:rect l="l" t="t" r="r" b="b"/>
              <a:pathLst>
                <a:path w="2959" h="10493" extrusionOk="0">
                  <a:moveTo>
                    <a:pt x="0" y="1"/>
                  </a:moveTo>
                  <a:lnTo>
                    <a:pt x="0" y="10493"/>
                  </a:lnTo>
                  <a:lnTo>
                    <a:pt x="2958" y="10493"/>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8" name="Google Shape;638;p9"/>
            <p:cNvSpPr/>
            <p:nvPr/>
          </p:nvSpPr>
          <p:spPr>
            <a:xfrm>
              <a:off x="6675808" y="4614848"/>
              <a:ext cx="94688" cy="528640"/>
            </a:xfrm>
            <a:custGeom>
              <a:avLst/>
              <a:gdLst/>
              <a:ahLst/>
              <a:cxnLst/>
              <a:rect l="l" t="t" r="r" b="b"/>
              <a:pathLst>
                <a:path w="2959" h="16520" extrusionOk="0">
                  <a:moveTo>
                    <a:pt x="1" y="0"/>
                  </a:moveTo>
                  <a:lnTo>
                    <a:pt x="1" y="16520"/>
                  </a:lnTo>
                  <a:lnTo>
                    <a:pt x="2959" y="16520"/>
                  </a:lnTo>
                  <a:lnTo>
                    <a:pt x="2959"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39" name="Google Shape;639;p9"/>
            <p:cNvSpPr/>
            <p:nvPr/>
          </p:nvSpPr>
          <p:spPr>
            <a:xfrm>
              <a:off x="7088384" y="4739840"/>
              <a:ext cx="94688" cy="403648"/>
            </a:xfrm>
            <a:custGeom>
              <a:avLst/>
              <a:gdLst/>
              <a:ahLst/>
              <a:cxnLst/>
              <a:rect l="l" t="t" r="r" b="b"/>
              <a:pathLst>
                <a:path w="2959" h="12614" extrusionOk="0">
                  <a:moveTo>
                    <a:pt x="0" y="1"/>
                  </a:moveTo>
                  <a:lnTo>
                    <a:pt x="0" y="12614"/>
                  </a:lnTo>
                  <a:lnTo>
                    <a:pt x="2958" y="12614"/>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0" name="Google Shape;640;p9"/>
            <p:cNvSpPr/>
            <p:nvPr/>
          </p:nvSpPr>
          <p:spPr>
            <a:xfrm>
              <a:off x="6952640" y="4530912"/>
              <a:ext cx="94688" cy="612576"/>
            </a:xfrm>
            <a:custGeom>
              <a:avLst/>
              <a:gdLst/>
              <a:ahLst/>
              <a:cxnLst/>
              <a:rect l="l" t="t" r="r" b="b"/>
              <a:pathLst>
                <a:path w="2959" h="19143" extrusionOk="0">
                  <a:moveTo>
                    <a:pt x="0" y="0"/>
                  </a:moveTo>
                  <a:lnTo>
                    <a:pt x="0" y="19143"/>
                  </a:lnTo>
                  <a:lnTo>
                    <a:pt x="2958" y="19143"/>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1" name="Google Shape;641;p9"/>
            <p:cNvSpPr/>
            <p:nvPr/>
          </p:nvSpPr>
          <p:spPr>
            <a:xfrm>
              <a:off x="7365184" y="4739840"/>
              <a:ext cx="94688" cy="403648"/>
            </a:xfrm>
            <a:custGeom>
              <a:avLst/>
              <a:gdLst/>
              <a:ahLst/>
              <a:cxnLst/>
              <a:rect l="l" t="t" r="r" b="b"/>
              <a:pathLst>
                <a:path w="2959" h="12614" extrusionOk="0">
                  <a:moveTo>
                    <a:pt x="1" y="1"/>
                  </a:moveTo>
                  <a:lnTo>
                    <a:pt x="1" y="12614"/>
                  </a:lnTo>
                  <a:lnTo>
                    <a:pt x="2959" y="12614"/>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2" name="Google Shape;642;p9"/>
            <p:cNvSpPr/>
            <p:nvPr/>
          </p:nvSpPr>
          <p:spPr>
            <a:xfrm>
              <a:off x="7229472" y="4825568"/>
              <a:ext cx="94688" cy="317920"/>
            </a:xfrm>
            <a:custGeom>
              <a:avLst/>
              <a:gdLst/>
              <a:ahLst/>
              <a:cxnLst/>
              <a:rect l="l" t="t" r="r" b="b"/>
              <a:pathLst>
                <a:path w="2959" h="9935" extrusionOk="0">
                  <a:moveTo>
                    <a:pt x="0" y="1"/>
                  </a:moveTo>
                  <a:lnTo>
                    <a:pt x="0" y="9935"/>
                  </a:lnTo>
                  <a:lnTo>
                    <a:pt x="2958" y="9935"/>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3" name="Google Shape;643;p9"/>
            <p:cNvSpPr/>
            <p:nvPr/>
          </p:nvSpPr>
          <p:spPr>
            <a:xfrm>
              <a:off x="7643808" y="4632704"/>
              <a:ext cx="92896" cy="510784"/>
            </a:xfrm>
            <a:custGeom>
              <a:avLst/>
              <a:gdLst/>
              <a:ahLst/>
              <a:cxnLst/>
              <a:rect l="l" t="t" r="r" b="b"/>
              <a:pathLst>
                <a:path w="2903" h="15962" extrusionOk="0">
                  <a:moveTo>
                    <a:pt x="0" y="0"/>
                  </a:moveTo>
                  <a:lnTo>
                    <a:pt x="0" y="15962"/>
                  </a:lnTo>
                  <a:lnTo>
                    <a:pt x="2902" y="15962"/>
                  </a:lnTo>
                  <a:lnTo>
                    <a:pt x="2902"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4" name="Google Shape;644;p9"/>
            <p:cNvSpPr/>
            <p:nvPr/>
          </p:nvSpPr>
          <p:spPr>
            <a:xfrm>
              <a:off x="7506272" y="4963104"/>
              <a:ext cx="94688" cy="180384"/>
            </a:xfrm>
            <a:custGeom>
              <a:avLst/>
              <a:gdLst/>
              <a:ahLst/>
              <a:cxnLst/>
              <a:rect l="l" t="t" r="r" b="b"/>
              <a:pathLst>
                <a:path w="2959" h="5637" extrusionOk="0">
                  <a:moveTo>
                    <a:pt x="1" y="0"/>
                  </a:moveTo>
                  <a:lnTo>
                    <a:pt x="1" y="5637"/>
                  </a:lnTo>
                  <a:lnTo>
                    <a:pt x="2959" y="5637"/>
                  </a:lnTo>
                  <a:lnTo>
                    <a:pt x="2959"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5" name="Google Shape;645;p9"/>
            <p:cNvSpPr/>
            <p:nvPr/>
          </p:nvSpPr>
          <p:spPr>
            <a:xfrm>
              <a:off x="7920608" y="4909504"/>
              <a:ext cx="94688" cy="233984"/>
            </a:xfrm>
            <a:custGeom>
              <a:avLst/>
              <a:gdLst/>
              <a:ahLst/>
              <a:cxnLst/>
              <a:rect l="l" t="t" r="r" b="b"/>
              <a:pathLst>
                <a:path w="2959" h="7312" extrusionOk="0">
                  <a:moveTo>
                    <a:pt x="1" y="1"/>
                  </a:moveTo>
                  <a:lnTo>
                    <a:pt x="1" y="7312"/>
                  </a:lnTo>
                  <a:lnTo>
                    <a:pt x="2959" y="731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6" name="Google Shape;646;p9"/>
            <p:cNvSpPr/>
            <p:nvPr/>
          </p:nvSpPr>
          <p:spPr>
            <a:xfrm>
              <a:off x="7784896" y="4777344"/>
              <a:ext cx="94688" cy="366144"/>
            </a:xfrm>
            <a:custGeom>
              <a:avLst/>
              <a:gdLst/>
              <a:ahLst/>
              <a:cxnLst/>
              <a:rect l="l" t="t" r="r" b="b"/>
              <a:pathLst>
                <a:path w="2959" h="11442" extrusionOk="0">
                  <a:moveTo>
                    <a:pt x="0" y="1"/>
                  </a:moveTo>
                  <a:lnTo>
                    <a:pt x="0" y="11442"/>
                  </a:lnTo>
                  <a:lnTo>
                    <a:pt x="2958" y="1144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7" name="Google Shape;647;p9"/>
            <p:cNvSpPr/>
            <p:nvPr/>
          </p:nvSpPr>
          <p:spPr>
            <a:xfrm>
              <a:off x="8197440" y="4571968"/>
              <a:ext cx="94688" cy="571520"/>
            </a:xfrm>
            <a:custGeom>
              <a:avLst/>
              <a:gdLst/>
              <a:ahLst/>
              <a:cxnLst/>
              <a:rect l="l" t="t" r="r" b="b"/>
              <a:pathLst>
                <a:path w="2959" h="17860" extrusionOk="0">
                  <a:moveTo>
                    <a:pt x="0" y="1"/>
                  </a:moveTo>
                  <a:lnTo>
                    <a:pt x="0" y="17860"/>
                  </a:lnTo>
                  <a:lnTo>
                    <a:pt x="2958" y="17860"/>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8" name="Google Shape;648;p9"/>
            <p:cNvSpPr/>
            <p:nvPr/>
          </p:nvSpPr>
          <p:spPr>
            <a:xfrm>
              <a:off x="8061696" y="4777344"/>
              <a:ext cx="94688" cy="366144"/>
            </a:xfrm>
            <a:custGeom>
              <a:avLst/>
              <a:gdLst/>
              <a:ahLst/>
              <a:cxnLst/>
              <a:rect l="l" t="t" r="r" b="b"/>
              <a:pathLst>
                <a:path w="2959" h="11442" extrusionOk="0">
                  <a:moveTo>
                    <a:pt x="1" y="1"/>
                  </a:moveTo>
                  <a:lnTo>
                    <a:pt x="1" y="11442"/>
                  </a:lnTo>
                  <a:lnTo>
                    <a:pt x="2959" y="11442"/>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49" name="Google Shape;649;p9"/>
            <p:cNvSpPr/>
            <p:nvPr/>
          </p:nvSpPr>
          <p:spPr>
            <a:xfrm>
              <a:off x="8474272" y="4721984"/>
              <a:ext cx="94656" cy="421504"/>
            </a:xfrm>
            <a:custGeom>
              <a:avLst/>
              <a:gdLst/>
              <a:ahLst/>
              <a:cxnLst/>
              <a:rect l="l" t="t" r="r" b="b"/>
              <a:pathLst>
                <a:path w="2958" h="13172" extrusionOk="0">
                  <a:moveTo>
                    <a:pt x="0" y="1"/>
                  </a:moveTo>
                  <a:lnTo>
                    <a:pt x="0" y="13172"/>
                  </a:lnTo>
                  <a:lnTo>
                    <a:pt x="2958" y="13172"/>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50" name="Google Shape;650;p9"/>
            <p:cNvSpPr/>
            <p:nvPr/>
          </p:nvSpPr>
          <p:spPr>
            <a:xfrm>
              <a:off x="8338528" y="4488032"/>
              <a:ext cx="94688" cy="655456"/>
            </a:xfrm>
            <a:custGeom>
              <a:avLst/>
              <a:gdLst/>
              <a:ahLst/>
              <a:cxnLst/>
              <a:rect l="l" t="t" r="r" b="b"/>
              <a:pathLst>
                <a:path w="2959" h="20483" extrusionOk="0">
                  <a:moveTo>
                    <a:pt x="0" y="1"/>
                  </a:moveTo>
                  <a:lnTo>
                    <a:pt x="0" y="20483"/>
                  </a:lnTo>
                  <a:lnTo>
                    <a:pt x="2958" y="20483"/>
                  </a:lnTo>
                  <a:lnTo>
                    <a:pt x="2958"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51" name="Google Shape;651;p9"/>
            <p:cNvSpPr/>
            <p:nvPr/>
          </p:nvSpPr>
          <p:spPr>
            <a:xfrm>
              <a:off x="8751072" y="4409440"/>
              <a:ext cx="94688" cy="734048"/>
            </a:xfrm>
            <a:custGeom>
              <a:avLst/>
              <a:gdLst/>
              <a:ahLst/>
              <a:cxnLst/>
              <a:rect l="l" t="t" r="r" b="b"/>
              <a:pathLst>
                <a:path w="2959" h="22939" extrusionOk="0">
                  <a:moveTo>
                    <a:pt x="1" y="1"/>
                  </a:moveTo>
                  <a:lnTo>
                    <a:pt x="1" y="22939"/>
                  </a:lnTo>
                  <a:lnTo>
                    <a:pt x="2959" y="22939"/>
                  </a:lnTo>
                  <a:lnTo>
                    <a:pt x="2959"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52" name="Google Shape;652;p9"/>
            <p:cNvSpPr/>
            <p:nvPr/>
          </p:nvSpPr>
          <p:spPr>
            <a:xfrm>
              <a:off x="8615360" y="4295168"/>
              <a:ext cx="94688" cy="848320"/>
            </a:xfrm>
            <a:custGeom>
              <a:avLst/>
              <a:gdLst/>
              <a:ahLst/>
              <a:cxnLst/>
              <a:rect l="l" t="t" r="r" b="b"/>
              <a:pathLst>
                <a:path w="2959" h="26510" extrusionOk="0">
                  <a:moveTo>
                    <a:pt x="0" y="0"/>
                  </a:moveTo>
                  <a:lnTo>
                    <a:pt x="0" y="26510"/>
                  </a:lnTo>
                  <a:lnTo>
                    <a:pt x="2958" y="26510"/>
                  </a:lnTo>
                  <a:lnTo>
                    <a:pt x="2958"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53" name="Google Shape;653;p9"/>
            <p:cNvSpPr/>
            <p:nvPr/>
          </p:nvSpPr>
          <p:spPr>
            <a:xfrm>
              <a:off x="9029696" y="4409440"/>
              <a:ext cx="92896" cy="734048"/>
            </a:xfrm>
            <a:custGeom>
              <a:avLst/>
              <a:gdLst/>
              <a:ahLst/>
              <a:cxnLst/>
              <a:rect l="l" t="t" r="r" b="b"/>
              <a:pathLst>
                <a:path w="2903" h="22939" extrusionOk="0">
                  <a:moveTo>
                    <a:pt x="0" y="1"/>
                  </a:moveTo>
                  <a:lnTo>
                    <a:pt x="0" y="22939"/>
                  </a:lnTo>
                  <a:lnTo>
                    <a:pt x="2902" y="22939"/>
                  </a:lnTo>
                  <a:lnTo>
                    <a:pt x="2902" y="1"/>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654" name="Google Shape;654;p9"/>
            <p:cNvSpPr/>
            <p:nvPr/>
          </p:nvSpPr>
          <p:spPr>
            <a:xfrm>
              <a:off x="8893952" y="4180864"/>
              <a:ext cx="92896" cy="962624"/>
            </a:xfrm>
            <a:custGeom>
              <a:avLst/>
              <a:gdLst/>
              <a:ahLst/>
              <a:cxnLst/>
              <a:rect l="l" t="t" r="r" b="b"/>
              <a:pathLst>
                <a:path w="2903" h="30082" extrusionOk="0">
                  <a:moveTo>
                    <a:pt x="1" y="0"/>
                  </a:moveTo>
                  <a:lnTo>
                    <a:pt x="1" y="30082"/>
                  </a:lnTo>
                  <a:lnTo>
                    <a:pt x="2903" y="30082"/>
                  </a:lnTo>
                  <a:lnTo>
                    <a:pt x="2903" y="0"/>
                  </a:lnTo>
                  <a:close/>
                </a:path>
              </a:pathLst>
            </a:custGeom>
            <a:solidFill>
              <a:srgbClr val="FFFFFF">
                <a:alpha val="111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
        <p:nvSpPr>
          <p:cNvPr id="655" name="Google Shape;655;p9"/>
          <p:cNvSpPr/>
          <p:nvPr/>
        </p:nvSpPr>
        <p:spPr>
          <a:xfrm>
            <a:off x="0" y="4772000"/>
            <a:ext cx="9144000" cy="1724075"/>
          </a:xfrm>
          <a:custGeom>
            <a:avLst/>
            <a:gdLst/>
            <a:ahLst/>
            <a:cxnLst/>
            <a:rect l="l" t="t" r="r" b="b"/>
            <a:pathLst>
              <a:path w="285750" h="40408" extrusionOk="0">
                <a:moveTo>
                  <a:pt x="160288" y="224"/>
                </a:moveTo>
                <a:lnTo>
                  <a:pt x="160455" y="279"/>
                </a:lnTo>
                <a:lnTo>
                  <a:pt x="160623" y="335"/>
                </a:lnTo>
                <a:lnTo>
                  <a:pt x="160679" y="503"/>
                </a:lnTo>
                <a:lnTo>
                  <a:pt x="160734" y="670"/>
                </a:lnTo>
                <a:lnTo>
                  <a:pt x="160679" y="838"/>
                </a:lnTo>
                <a:lnTo>
                  <a:pt x="160623" y="1005"/>
                </a:lnTo>
                <a:lnTo>
                  <a:pt x="160455" y="1061"/>
                </a:lnTo>
                <a:lnTo>
                  <a:pt x="160288" y="1117"/>
                </a:lnTo>
                <a:lnTo>
                  <a:pt x="160120" y="1061"/>
                </a:lnTo>
                <a:lnTo>
                  <a:pt x="159953" y="1005"/>
                </a:lnTo>
                <a:lnTo>
                  <a:pt x="159897" y="838"/>
                </a:lnTo>
                <a:lnTo>
                  <a:pt x="159841" y="670"/>
                </a:lnTo>
                <a:lnTo>
                  <a:pt x="159897" y="503"/>
                </a:lnTo>
                <a:lnTo>
                  <a:pt x="159953" y="335"/>
                </a:lnTo>
                <a:lnTo>
                  <a:pt x="160120" y="279"/>
                </a:lnTo>
                <a:lnTo>
                  <a:pt x="160288" y="224"/>
                </a:lnTo>
                <a:close/>
                <a:moveTo>
                  <a:pt x="264319" y="670"/>
                </a:moveTo>
                <a:lnTo>
                  <a:pt x="264486" y="726"/>
                </a:lnTo>
                <a:lnTo>
                  <a:pt x="264654" y="782"/>
                </a:lnTo>
                <a:lnTo>
                  <a:pt x="264709" y="949"/>
                </a:lnTo>
                <a:lnTo>
                  <a:pt x="264765" y="1117"/>
                </a:lnTo>
                <a:lnTo>
                  <a:pt x="264709" y="1284"/>
                </a:lnTo>
                <a:lnTo>
                  <a:pt x="264654" y="1451"/>
                </a:lnTo>
                <a:lnTo>
                  <a:pt x="264486" y="1507"/>
                </a:lnTo>
                <a:lnTo>
                  <a:pt x="264319" y="1563"/>
                </a:lnTo>
                <a:lnTo>
                  <a:pt x="264151" y="1507"/>
                </a:lnTo>
                <a:lnTo>
                  <a:pt x="263984" y="1451"/>
                </a:lnTo>
                <a:lnTo>
                  <a:pt x="263928" y="1284"/>
                </a:lnTo>
                <a:lnTo>
                  <a:pt x="263872" y="1117"/>
                </a:lnTo>
                <a:lnTo>
                  <a:pt x="263928" y="949"/>
                </a:lnTo>
                <a:lnTo>
                  <a:pt x="263984" y="782"/>
                </a:lnTo>
                <a:lnTo>
                  <a:pt x="264151" y="726"/>
                </a:lnTo>
                <a:lnTo>
                  <a:pt x="264319" y="670"/>
                </a:lnTo>
                <a:close/>
                <a:moveTo>
                  <a:pt x="281508" y="2902"/>
                </a:moveTo>
                <a:lnTo>
                  <a:pt x="281676" y="2958"/>
                </a:lnTo>
                <a:lnTo>
                  <a:pt x="281843" y="3014"/>
                </a:lnTo>
                <a:lnTo>
                  <a:pt x="281899" y="3182"/>
                </a:lnTo>
                <a:lnTo>
                  <a:pt x="281955" y="3349"/>
                </a:lnTo>
                <a:lnTo>
                  <a:pt x="281899" y="3516"/>
                </a:lnTo>
                <a:lnTo>
                  <a:pt x="281843" y="3684"/>
                </a:lnTo>
                <a:lnTo>
                  <a:pt x="281676" y="3740"/>
                </a:lnTo>
                <a:lnTo>
                  <a:pt x="281508" y="3795"/>
                </a:lnTo>
                <a:lnTo>
                  <a:pt x="281341" y="3740"/>
                </a:lnTo>
                <a:lnTo>
                  <a:pt x="281174" y="3684"/>
                </a:lnTo>
                <a:lnTo>
                  <a:pt x="281118" y="3516"/>
                </a:lnTo>
                <a:lnTo>
                  <a:pt x="281062" y="3349"/>
                </a:lnTo>
                <a:lnTo>
                  <a:pt x="281118" y="3182"/>
                </a:lnTo>
                <a:lnTo>
                  <a:pt x="281174" y="3014"/>
                </a:lnTo>
                <a:lnTo>
                  <a:pt x="281341" y="2958"/>
                </a:lnTo>
                <a:lnTo>
                  <a:pt x="281508" y="2902"/>
                </a:lnTo>
                <a:close/>
                <a:moveTo>
                  <a:pt x="177701" y="6251"/>
                </a:moveTo>
                <a:lnTo>
                  <a:pt x="177868" y="6307"/>
                </a:lnTo>
                <a:lnTo>
                  <a:pt x="178036" y="6363"/>
                </a:lnTo>
                <a:lnTo>
                  <a:pt x="178091" y="6530"/>
                </a:lnTo>
                <a:lnTo>
                  <a:pt x="178147" y="6698"/>
                </a:lnTo>
                <a:lnTo>
                  <a:pt x="178091" y="6865"/>
                </a:lnTo>
                <a:lnTo>
                  <a:pt x="178036" y="7032"/>
                </a:lnTo>
                <a:lnTo>
                  <a:pt x="177868" y="7088"/>
                </a:lnTo>
                <a:lnTo>
                  <a:pt x="177701" y="7144"/>
                </a:lnTo>
                <a:lnTo>
                  <a:pt x="177533" y="7088"/>
                </a:lnTo>
                <a:lnTo>
                  <a:pt x="177366" y="7032"/>
                </a:lnTo>
                <a:lnTo>
                  <a:pt x="177310" y="6865"/>
                </a:lnTo>
                <a:lnTo>
                  <a:pt x="177254" y="6698"/>
                </a:lnTo>
                <a:lnTo>
                  <a:pt x="177310" y="6530"/>
                </a:lnTo>
                <a:lnTo>
                  <a:pt x="177366" y="6363"/>
                </a:lnTo>
                <a:lnTo>
                  <a:pt x="177533" y="6307"/>
                </a:lnTo>
                <a:lnTo>
                  <a:pt x="177701" y="6251"/>
                </a:lnTo>
                <a:close/>
                <a:moveTo>
                  <a:pt x="90860" y="12055"/>
                </a:moveTo>
                <a:lnTo>
                  <a:pt x="91027" y="12111"/>
                </a:lnTo>
                <a:lnTo>
                  <a:pt x="91194" y="12167"/>
                </a:lnTo>
                <a:lnTo>
                  <a:pt x="91250" y="12334"/>
                </a:lnTo>
                <a:lnTo>
                  <a:pt x="91306" y="12502"/>
                </a:lnTo>
                <a:lnTo>
                  <a:pt x="91250" y="12669"/>
                </a:lnTo>
                <a:lnTo>
                  <a:pt x="91194" y="12837"/>
                </a:lnTo>
                <a:lnTo>
                  <a:pt x="91027" y="12893"/>
                </a:lnTo>
                <a:lnTo>
                  <a:pt x="90860" y="12948"/>
                </a:lnTo>
                <a:lnTo>
                  <a:pt x="90692" y="12893"/>
                </a:lnTo>
                <a:lnTo>
                  <a:pt x="90525" y="12837"/>
                </a:lnTo>
                <a:lnTo>
                  <a:pt x="90469" y="12669"/>
                </a:lnTo>
                <a:lnTo>
                  <a:pt x="90413" y="12502"/>
                </a:lnTo>
                <a:lnTo>
                  <a:pt x="90469" y="12334"/>
                </a:lnTo>
                <a:lnTo>
                  <a:pt x="90525" y="12167"/>
                </a:lnTo>
                <a:lnTo>
                  <a:pt x="90692" y="12111"/>
                </a:lnTo>
                <a:lnTo>
                  <a:pt x="90860" y="12055"/>
                </a:lnTo>
                <a:close/>
                <a:moveTo>
                  <a:pt x="246683" y="15404"/>
                </a:moveTo>
                <a:lnTo>
                  <a:pt x="246850" y="15460"/>
                </a:lnTo>
                <a:lnTo>
                  <a:pt x="247017" y="15516"/>
                </a:lnTo>
                <a:lnTo>
                  <a:pt x="247073" y="15683"/>
                </a:lnTo>
                <a:lnTo>
                  <a:pt x="247129" y="15851"/>
                </a:lnTo>
                <a:lnTo>
                  <a:pt x="247073" y="16018"/>
                </a:lnTo>
                <a:lnTo>
                  <a:pt x="247017" y="16185"/>
                </a:lnTo>
                <a:lnTo>
                  <a:pt x="246850" y="16241"/>
                </a:lnTo>
                <a:lnTo>
                  <a:pt x="246683" y="16297"/>
                </a:lnTo>
                <a:lnTo>
                  <a:pt x="246515" y="16241"/>
                </a:lnTo>
                <a:lnTo>
                  <a:pt x="246348" y="16185"/>
                </a:lnTo>
                <a:lnTo>
                  <a:pt x="246292" y="16018"/>
                </a:lnTo>
                <a:lnTo>
                  <a:pt x="246236" y="15851"/>
                </a:lnTo>
                <a:lnTo>
                  <a:pt x="246292" y="15683"/>
                </a:lnTo>
                <a:lnTo>
                  <a:pt x="246348" y="15516"/>
                </a:lnTo>
                <a:lnTo>
                  <a:pt x="246515" y="15460"/>
                </a:lnTo>
                <a:lnTo>
                  <a:pt x="246683" y="15404"/>
                </a:lnTo>
                <a:close/>
                <a:moveTo>
                  <a:pt x="142875" y="15627"/>
                </a:moveTo>
                <a:lnTo>
                  <a:pt x="143042" y="15683"/>
                </a:lnTo>
                <a:lnTo>
                  <a:pt x="143210" y="15739"/>
                </a:lnTo>
                <a:lnTo>
                  <a:pt x="143266" y="15906"/>
                </a:lnTo>
                <a:lnTo>
                  <a:pt x="143321" y="16074"/>
                </a:lnTo>
                <a:lnTo>
                  <a:pt x="143266" y="16241"/>
                </a:lnTo>
                <a:lnTo>
                  <a:pt x="143210" y="16409"/>
                </a:lnTo>
                <a:lnTo>
                  <a:pt x="143042" y="16464"/>
                </a:lnTo>
                <a:lnTo>
                  <a:pt x="142875" y="16520"/>
                </a:lnTo>
                <a:lnTo>
                  <a:pt x="142708" y="16464"/>
                </a:lnTo>
                <a:lnTo>
                  <a:pt x="142540" y="16409"/>
                </a:lnTo>
                <a:lnTo>
                  <a:pt x="142484" y="16241"/>
                </a:lnTo>
                <a:lnTo>
                  <a:pt x="142429" y="16074"/>
                </a:lnTo>
                <a:lnTo>
                  <a:pt x="142484" y="15906"/>
                </a:lnTo>
                <a:lnTo>
                  <a:pt x="142540" y="15739"/>
                </a:lnTo>
                <a:lnTo>
                  <a:pt x="142708" y="15683"/>
                </a:lnTo>
                <a:lnTo>
                  <a:pt x="142875" y="15627"/>
                </a:lnTo>
                <a:close/>
                <a:moveTo>
                  <a:pt x="125685" y="17413"/>
                </a:moveTo>
                <a:lnTo>
                  <a:pt x="125853" y="17469"/>
                </a:lnTo>
                <a:lnTo>
                  <a:pt x="126020" y="17525"/>
                </a:lnTo>
                <a:lnTo>
                  <a:pt x="126076" y="17692"/>
                </a:lnTo>
                <a:lnTo>
                  <a:pt x="126132" y="17860"/>
                </a:lnTo>
                <a:lnTo>
                  <a:pt x="126076" y="18027"/>
                </a:lnTo>
                <a:lnTo>
                  <a:pt x="126020" y="18195"/>
                </a:lnTo>
                <a:lnTo>
                  <a:pt x="125853" y="18250"/>
                </a:lnTo>
                <a:lnTo>
                  <a:pt x="125685" y="18306"/>
                </a:lnTo>
                <a:lnTo>
                  <a:pt x="125518" y="18250"/>
                </a:lnTo>
                <a:lnTo>
                  <a:pt x="125350" y="18195"/>
                </a:lnTo>
                <a:lnTo>
                  <a:pt x="125295" y="18027"/>
                </a:lnTo>
                <a:lnTo>
                  <a:pt x="125239" y="17860"/>
                </a:lnTo>
                <a:lnTo>
                  <a:pt x="125295" y="17692"/>
                </a:lnTo>
                <a:lnTo>
                  <a:pt x="125350" y="17525"/>
                </a:lnTo>
                <a:lnTo>
                  <a:pt x="125518" y="17469"/>
                </a:lnTo>
                <a:lnTo>
                  <a:pt x="125685" y="17413"/>
                </a:lnTo>
                <a:close/>
                <a:moveTo>
                  <a:pt x="73670" y="17636"/>
                </a:moveTo>
                <a:lnTo>
                  <a:pt x="73837" y="17692"/>
                </a:lnTo>
                <a:lnTo>
                  <a:pt x="74005" y="17748"/>
                </a:lnTo>
                <a:lnTo>
                  <a:pt x="74061" y="17915"/>
                </a:lnTo>
                <a:lnTo>
                  <a:pt x="74116" y="18083"/>
                </a:lnTo>
                <a:lnTo>
                  <a:pt x="74061" y="18250"/>
                </a:lnTo>
                <a:lnTo>
                  <a:pt x="74005" y="18418"/>
                </a:lnTo>
                <a:lnTo>
                  <a:pt x="73837" y="18474"/>
                </a:lnTo>
                <a:lnTo>
                  <a:pt x="73670" y="18529"/>
                </a:lnTo>
                <a:lnTo>
                  <a:pt x="73502" y="18474"/>
                </a:lnTo>
                <a:lnTo>
                  <a:pt x="73335" y="18418"/>
                </a:lnTo>
                <a:lnTo>
                  <a:pt x="73279" y="18250"/>
                </a:lnTo>
                <a:lnTo>
                  <a:pt x="73223" y="18083"/>
                </a:lnTo>
                <a:lnTo>
                  <a:pt x="73279" y="17915"/>
                </a:lnTo>
                <a:lnTo>
                  <a:pt x="73335" y="17748"/>
                </a:lnTo>
                <a:lnTo>
                  <a:pt x="73502" y="17692"/>
                </a:lnTo>
                <a:lnTo>
                  <a:pt x="73670" y="17636"/>
                </a:lnTo>
                <a:close/>
                <a:moveTo>
                  <a:pt x="21543" y="17971"/>
                </a:moveTo>
                <a:lnTo>
                  <a:pt x="21710" y="18027"/>
                </a:lnTo>
                <a:lnTo>
                  <a:pt x="21878" y="18083"/>
                </a:lnTo>
                <a:lnTo>
                  <a:pt x="21934" y="18250"/>
                </a:lnTo>
                <a:lnTo>
                  <a:pt x="21989" y="18418"/>
                </a:lnTo>
                <a:lnTo>
                  <a:pt x="21934" y="18585"/>
                </a:lnTo>
                <a:lnTo>
                  <a:pt x="21878" y="18753"/>
                </a:lnTo>
                <a:lnTo>
                  <a:pt x="21710" y="18808"/>
                </a:lnTo>
                <a:lnTo>
                  <a:pt x="21543" y="18864"/>
                </a:lnTo>
                <a:lnTo>
                  <a:pt x="21375" y="18808"/>
                </a:lnTo>
                <a:lnTo>
                  <a:pt x="21208" y="18753"/>
                </a:lnTo>
                <a:lnTo>
                  <a:pt x="21152" y="18585"/>
                </a:lnTo>
                <a:lnTo>
                  <a:pt x="21096" y="18418"/>
                </a:lnTo>
                <a:lnTo>
                  <a:pt x="21152" y="18250"/>
                </a:lnTo>
                <a:lnTo>
                  <a:pt x="21208" y="18083"/>
                </a:lnTo>
                <a:lnTo>
                  <a:pt x="21375" y="18027"/>
                </a:lnTo>
                <a:lnTo>
                  <a:pt x="21543" y="17971"/>
                </a:lnTo>
                <a:close/>
                <a:moveTo>
                  <a:pt x="229716" y="22101"/>
                </a:moveTo>
                <a:lnTo>
                  <a:pt x="229884" y="22157"/>
                </a:lnTo>
                <a:lnTo>
                  <a:pt x="230051" y="22213"/>
                </a:lnTo>
                <a:lnTo>
                  <a:pt x="230107" y="22380"/>
                </a:lnTo>
                <a:lnTo>
                  <a:pt x="230163" y="22548"/>
                </a:lnTo>
                <a:lnTo>
                  <a:pt x="230107" y="22715"/>
                </a:lnTo>
                <a:lnTo>
                  <a:pt x="230051" y="22883"/>
                </a:lnTo>
                <a:lnTo>
                  <a:pt x="229884" y="22938"/>
                </a:lnTo>
                <a:lnTo>
                  <a:pt x="229716" y="22994"/>
                </a:lnTo>
                <a:lnTo>
                  <a:pt x="229549" y="22938"/>
                </a:lnTo>
                <a:lnTo>
                  <a:pt x="229381" y="22883"/>
                </a:lnTo>
                <a:lnTo>
                  <a:pt x="229326" y="22715"/>
                </a:lnTo>
                <a:lnTo>
                  <a:pt x="229270" y="22548"/>
                </a:lnTo>
                <a:lnTo>
                  <a:pt x="229326" y="22380"/>
                </a:lnTo>
                <a:lnTo>
                  <a:pt x="229381" y="22213"/>
                </a:lnTo>
                <a:lnTo>
                  <a:pt x="229549" y="22157"/>
                </a:lnTo>
                <a:lnTo>
                  <a:pt x="229716" y="22101"/>
                </a:lnTo>
                <a:close/>
                <a:moveTo>
                  <a:pt x="194890" y="25450"/>
                </a:moveTo>
                <a:lnTo>
                  <a:pt x="195058" y="25506"/>
                </a:lnTo>
                <a:lnTo>
                  <a:pt x="195225" y="25562"/>
                </a:lnTo>
                <a:lnTo>
                  <a:pt x="195281" y="25729"/>
                </a:lnTo>
                <a:lnTo>
                  <a:pt x="195337" y="25896"/>
                </a:lnTo>
                <a:lnTo>
                  <a:pt x="195281" y="26064"/>
                </a:lnTo>
                <a:lnTo>
                  <a:pt x="195225" y="26231"/>
                </a:lnTo>
                <a:lnTo>
                  <a:pt x="195058" y="26287"/>
                </a:lnTo>
                <a:lnTo>
                  <a:pt x="194890" y="26343"/>
                </a:lnTo>
                <a:lnTo>
                  <a:pt x="194723" y="26287"/>
                </a:lnTo>
                <a:lnTo>
                  <a:pt x="194556" y="26231"/>
                </a:lnTo>
                <a:lnTo>
                  <a:pt x="194500" y="26064"/>
                </a:lnTo>
                <a:lnTo>
                  <a:pt x="194444" y="25896"/>
                </a:lnTo>
                <a:lnTo>
                  <a:pt x="194500" y="25729"/>
                </a:lnTo>
                <a:lnTo>
                  <a:pt x="194556" y="25562"/>
                </a:lnTo>
                <a:lnTo>
                  <a:pt x="194723" y="25506"/>
                </a:lnTo>
                <a:lnTo>
                  <a:pt x="194890" y="25450"/>
                </a:lnTo>
                <a:close/>
                <a:moveTo>
                  <a:pt x="4465" y="26789"/>
                </a:moveTo>
                <a:lnTo>
                  <a:pt x="4632" y="26845"/>
                </a:lnTo>
                <a:lnTo>
                  <a:pt x="4800" y="26901"/>
                </a:lnTo>
                <a:lnTo>
                  <a:pt x="4856" y="27068"/>
                </a:lnTo>
                <a:lnTo>
                  <a:pt x="4911" y="27236"/>
                </a:lnTo>
                <a:lnTo>
                  <a:pt x="4856" y="27403"/>
                </a:lnTo>
                <a:lnTo>
                  <a:pt x="4800" y="27571"/>
                </a:lnTo>
                <a:lnTo>
                  <a:pt x="4632" y="27627"/>
                </a:lnTo>
                <a:lnTo>
                  <a:pt x="4465" y="27682"/>
                </a:lnTo>
                <a:lnTo>
                  <a:pt x="4297" y="27627"/>
                </a:lnTo>
                <a:lnTo>
                  <a:pt x="4130" y="27571"/>
                </a:lnTo>
                <a:lnTo>
                  <a:pt x="4074" y="27403"/>
                </a:lnTo>
                <a:lnTo>
                  <a:pt x="4018" y="27236"/>
                </a:lnTo>
                <a:lnTo>
                  <a:pt x="4074" y="27068"/>
                </a:lnTo>
                <a:lnTo>
                  <a:pt x="4130" y="26901"/>
                </a:lnTo>
                <a:lnTo>
                  <a:pt x="4297" y="26845"/>
                </a:lnTo>
                <a:lnTo>
                  <a:pt x="4465" y="26789"/>
                </a:lnTo>
                <a:close/>
                <a:moveTo>
                  <a:pt x="108272" y="29915"/>
                </a:moveTo>
                <a:lnTo>
                  <a:pt x="108440" y="29971"/>
                </a:lnTo>
                <a:lnTo>
                  <a:pt x="108607" y="30026"/>
                </a:lnTo>
                <a:lnTo>
                  <a:pt x="108663" y="30194"/>
                </a:lnTo>
                <a:lnTo>
                  <a:pt x="108719" y="30361"/>
                </a:lnTo>
                <a:lnTo>
                  <a:pt x="108663" y="30529"/>
                </a:lnTo>
                <a:lnTo>
                  <a:pt x="108607" y="30696"/>
                </a:lnTo>
                <a:lnTo>
                  <a:pt x="108440" y="30752"/>
                </a:lnTo>
                <a:lnTo>
                  <a:pt x="108272" y="30808"/>
                </a:lnTo>
                <a:lnTo>
                  <a:pt x="108105" y="30752"/>
                </a:lnTo>
                <a:lnTo>
                  <a:pt x="107938" y="30696"/>
                </a:lnTo>
                <a:lnTo>
                  <a:pt x="107882" y="30529"/>
                </a:lnTo>
                <a:lnTo>
                  <a:pt x="107826" y="30361"/>
                </a:lnTo>
                <a:lnTo>
                  <a:pt x="107882" y="30194"/>
                </a:lnTo>
                <a:lnTo>
                  <a:pt x="107938" y="30026"/>
                </a:lnTo>
                <a:lnTo>
                  <a:pt x="108105" y="29971"/>
                </a:lnTo>
                <a:lnTo>
                  <a:pt x="108272" y="29915"/>
                </a:lnTo>
                <a:close/>
                <a:moveTo>
                  <a:pt x="212080" y="32147"/>
                </a:moveTo>
                <a:lnTo>
                  <a:pt x="212248" y="32203"/>
                </a:lnTo>
                <a:lnTo>
                  <a:pt x="212415" y="32259"/>
                </a:lnTo>
                <a:lnTo>
                  <a:pt x="212471" y="32426"/>
                </a:lnTo>
                <a:lnTo>
                  <a:pt x="212527" y="32594"/>
                </a:lnTo>
                <a:lnTo>
                  <a:pt x="212471" y="32761"/>
                </a:lnTo>
                <a:lnTo>
                  <a:pt x="212415" y="32928"/>
                </a:lnTo>
                <a:lnTo>
                  <a:pt x="212248" y="32984"/>
                </a:lnTo>
                <a:lnTo>
                  <a:pt x="212080" y="33040"/>
                </a:lnTo>
                <a:lnTo>
                  <a:pt x="211913" y="32984"/>
                </a:lnTo>
                <a:lnTo>
                  <a:pt x="211745" y="32928"/>
                </a:lnTo>
                <a:lnTo>
                  <a:pt x="211689" y="32761"/>
                </a:lnTo>
                <a:lnTo>
                  <a:pt x="211634" y="32594"/>
                </a:lnTo>
                <a:lnTo>
                  <a:pt x="211689" y="32426"/>
                </a:lnTo>
                <a:lnTo>
                  <a:pt x="211745" y="32259"/>
                </a:lnTo>
                <a:lnTo>
                  <a:pt x="211913" y="32203"/>
                </a:lnTo>
                <a:lnTo>
                  <a:pt x="212080" y="32147"/>
                </a:lnTo>
                <a:close/>
                <a:moveTo>
                  <a:pt x="56257" y="36389"/>
                </a:moveTo>
                <a:lnTo>
                  <a:pt x="56424" y="36445"/>
                </a:lnTo>
                <a:lnTo>
                  <a:pt x="56592" y="36500"/>
                </a:lnTo>
                <a:lnTo>
                  <a:pt x="56648" y="36668"/>
                </a:lnTo>
                <a:lnTo>
                  <a:pt x="56704" y="36835"/>
                </a:lnTo>
                <a:lnTo>
                  <a:pt x="56648" y="37003"/>
                </a:lnTo>
                <a:lnTo>
                  <a:pt x="56592" y="37170"/>
                </a:lnTo>
                <a:lnTo>
                  <a:pt x="56424" y="37226"/>
                </a:lnTo>
                <a:lnTo>
                  <a:pt x="56257" y="37282"/>
                </a:lnTo>
                <a:lnTo>
                  <a:pt x="56090" y="37226"/>
                </a:lnTo>
                <a:lnTo>
                  <a:pt x="55922" y="37170"/>
                </a:lnTo>
                <a:lnTo>
                  <a:pt x="55866" y="37003"/>
                </a:lnTo>
                <a:lnTo>
                  <a:pt x="55811" y="36835"/>
                </a:lnTo>
                <a:lnTo>
                  <a:pt x="55866" y="36668"/>
                </a:lnTo>
                <a:lnTo>
                  <a:pt x="55922" y="36500"/>
                </a:lnTo>
                <a:lnTo>
                  <a:pt x="56090" y="36445"/>
                </a:lnTo>
                <a:lnTo>
                  <a:pt x="56257" y="36389"/>
                </a:lnTo>
                <a:close/>
                <a:moveTo>
                  <a:pt x="39067" y="39291"/>
                </a:moveTo>
                <a:lnTo>
                  <a:pt x="39235" y="39347"/>
                </a:lnTo>
                <a:lnTo>
                  <a:pt x="39402" y="39403"/>
                </a:lnTo>
                <a:lnTo>
                  <a:pt x="39458" y="39570"/>
                </a:lnTo>
                <a:lnTo>
                  <a:pt x="39514" y="39737"/>
                </a:lnTo>
                <a:lnTo>
                  <a:pt x="39458" y="39905"/>
                </a:lnTo>
                <a:lnTo>
                  <a:pt x="39402" y="40072"/>
                </a:lnTo>
                <a:lnTo>
                  <a:pt x="39235" y="40128"/>
                </a:lnTo>
                <a:lnTo>
                  <a:pt x="39067" y="40184"/>
                </a:lnTo>
                <a:lnTo>
                  <a:pt x="38900" y="40128"/>
                </a:lnTo>
                <a:lnTo>
                  <a:pt x="38733" y="40072"/>
                </a:lnTo>
                <a:lnTo>
                  <a:pt x="38677" y="39905"/>
                </a:lnTo>
                <a:lnTo>
                  <a:pt x="38621" y="39737"/>
                </a:lnTo>
                <a:lnTo>
                  <a:pt x="38677" y="39570"/>
                </a:lnTo>
                <a:lnTo>
                  <a:pt x="38733" y="39403"/>
                </a:lnTo>
                <a:lnTo>
                  <a:pt x="38900" y="39347"/>
                </a:lnTo>
                <a:lnTo>
                  <a:pt x="39067" y="39291"/>
                </a:lnTo>
                <a:close/>
                <a:moveTo>
                  <a:pt x="160288" y="0"/>
                </a:moveTo>
                <a:lnTo>
                  <a:pt x="160009" y="56"/>
                </a:lnTo>
                <a:lnTo>
                  <a:pt x="159841" y="224"/>
                </a:lnTo>
                <a:lnTo>
                  <a:pt x="159674" y="391"/>
                </a:lnTo>
                <a:lnTo>
                  <a:pt x="159618" y="670"/>
                </a:lnTo>
                <a:lnTo>
                  <a:pt x="159674" y="893"/>
                </a:lnTo>
                <a:lnTo>
                  <a:pt x="143266" y="15571"/>
                </a:lnTo>
                <a:lnTo>
                  <a:pt x="143098" y="15460"/>
                </a:lnTo>
                <a:lnTo>
                  <a:pt x="142875" y="15404"/>
                </a:lnTo>
                <a:lnTo>
                  <a:pt x="142652" y="15460"/>
                </a:lnTo>
                <a:lnTo>
                  <a:pt x="142429" y="15571"/>
                </a:lnTo>
                <a:lnTo>
                  <a:pt x="142317" y="15739"/>
                </a:lnTo>
                <a:lnTo>
                  <a:pt x="142205" y="15906"/>
                </a:lnTo>
                <a:lnTo>
                  <a:pt x="126299" y="17581"/>
                </a:lnTo>
                <a:lnTo>
                  <a:pt x="126188" y="17413"/>
                </a:lnTo>
                <a:lnTo>
                  <a:pt x="126020" y="17302"/>
                </a:lnTo>
                <a:lnTo>
                  <a:pt x="125853" y="17190"/>
                </a:lnTo>
                <a:lnTo>
                  <a:pt x="125685" y="17190"/>
                </a:lnTo>
                <a:lnTo>
                  <a:pt x="125406" y="17246"/>
                </a:lnTo>
                <a:lnTo>
                  <a:pt x="125239" y="17413"/>
                </a:lnTo>
                <a:lnTo>
                  <a:pt x="125071" y="17581"/>
                </a:lnTo>
                <a:lnTo>
                  <a:pt x="125016" y="17860"/>
                </a:lnTo>
                <a:lnTo>
                  <a:pt x="125016" y="18027"/>
                </a:lnTo>
                <a:lnTo>
                  <a:pt x="108775" y="29915"/>
                </a:lnTo>
                <a:lnTo>
                  <a:pt x="108552" y="29747"/>
                </a:lnTo>
                <a:lnTo>
                  <a:pt x="108272" y="29691"/>
                </a:lnTo>
                <a:lnTo>
                  <a:pt x="107993" y="29747"/>
                </a:lnTo>
                <a:lnTo>
                  <a:pt x="107770" y="29915"/>
                </a:lnTo>
                <a:lnTo>
                  <a:pt x="91473" y="12781"/>
                </a:lnTo>
                <a:lnTo>
                  <a:pt x="91529" y="12502"/>
                </a:lnTo>
                <a:lnTo>
                  <a:pt x="91473" y="12223"/>
                </a:lnTo>
                <a:lnTo>
                  <a:pt x="91306" y="12055"/>
                </a:lnTo>
                <a:lnTo>
                  <a:pt x="91139" y="11888"/>
                </a:lnTo>
                <a:lnTo>
                  <a:pt x="90860" y="11832"/>
                </a:lnTo>
                <a:lnTo>
                  <a:pt x="90581" y="11888"/>
                </a:lnTo>
                <a:lnTo>
                  <a:pt x="90413" y="12055"/>
                </a:lnTo>
                <a:lnTo>
                  <a:pt x="90246" y="12223"/>
                </a:lnTo>
                <a:lnTo>
                  <a:pt x="90190" y="12502"/>
                </a:lnTo>
                <a:lnTo>
                  <a:pt x="74172" y="17636"/>
                </a:lnTo>
                <a:lnTo>
                  <a:pt x="73949" y="17469"/>
                </a:lnTo>
                <a:lnTo>
                  <a:pt x="73837" y="17413"/>
                </a:lnTo>
                <a:lnTo>
                  <a:pt x="73670" y="17413"/>
                </a:lnTo>
                <a:lnTo>
                  <a:pt x="73391" y="17469"/>
                </a:lnTo>
                <a:lnTo>
                  <a:pt x="73223" y="17636"/>
                </a:lnTo>
                <a:lnTo>
                  <a:pt x="73056" y="17804"/>
                </a:lnTo>
                <a:lnTo>
                  <a:pt x="73000" y="18083"/>
                </a:lnTo>
                <a:lnTo>
                  <a:pt x="73056" y="18362"/>
                </a:lnTo>
                <a:lnTo>
                  <a:pt x="56759" y="36389"/>
                </a:lnTo>
                <a:lnTo>
                  <a:pt x="56536" y="36221"/>
                </a:lnTo>
                <a:lnTo>
                  <a:pt x="56257" y="36165"/>
                </a:lnTo>
                <a:lnTo>
                  <a:pt x="55978" y="36221"/>
                </a:lnTo>
                <a:lnTo>
                  <a:pt x="55811" y="36389"/>
                </a:lnTo>
                <a:lnTo>
                  <a:pt x="55643" y="36556"/>
                </a:lnTo>
                <a:lnTo>
                  <a:pt x="55587" y="36835"/>
                </a:lnTo>
                <a:lnTo>
                  <a:pt x="55587" y="36947"/>
                </a:lnTo>
                <a:lnTo>
                  <a:pt x="39737" y="39626"/>
                </a:lnTo>
                <a:lnTo>
                  <a:pt x="39737" y="39737"/>
                </a:lnTo>
                <a:lnTo>
                  <a:pt x="39681" y="39458"/>
                </a:lnTo>
                <a:lnTo>
                  <a:pt x="39514" y="39291"/>
                </a:lnTo>
                <a:lnTo>
                  <a:pt x="39346" y="39123"/>
                </a:lnTo>
                <a:lnTo>
                  <a:pt x="39067" y="39068"/>
                </a:lnTo>
                <a:lnTo>
                  <a:pt x="38844" y="39123"/>
                </a:lnTo>
                <a:lnTo>
                  <a:pt x="38621" y="39235"/>
                </a:lnTo>
                <a:lnTo>
                  <a:pt x="22045" y="18864"/>
                </a:lnTo>
                <a:lnTo>
                  <a:pt x="22157" y="18641"/>
                </a:lnTo>
                <a:lnTo>
                  <a:pt x="22213" y="18418"/>
                </a:lnTo>
                <a:lnTo>
                  <a:pt x="22157" y="18139"/>
                </a:lnTo>
                <a:lnTo>
                  <a:pt x="21989" y="17971"/>
                </a:lnTo>
                <a:lnTo>
                  <a:pt x="21822" y="17804"/>
                </a:lnTo>
                <a:lnTo>
                  <a:pt x="21543" y="17748"/>
                </a:lnTo>
                <a:lnTo>
                  <a:pt x="21264" y="17804"/>
                </a:lnTo>
                <a:lnTo>
                  <a:pt x="21096" y="17971"/>
                </a:lnTo>
                <a:lnTo>
                  <a:pt x="20929" y="18139"/>
                </a:lnTo>
                <a:lnTo>
                  <a:pt x="20873" y="18418"/>
                </a:lnTo>
                <a:lnTo>
                  <a:pt x="20929" y="18641"/>
                </a:lnTo>
                <a:lnTo>
                  <a:pt x="4967" y="26789"/>
                </a:lnTo>
                <a:lnTo>
                  <a:pt x="4744" y="26622"/>
                </a:lnTo>
                <a:lnTo>
                  <a:pt x="4465" y="26566"/>
                </a:lnTo>
                <a:lnTo>
                  <a:pt x="4242" y="26622"/>
                </a:lnTo>
                <a:lnTo>
                  <a:pt x="4018" y="26734"/>
                </a:lnTo>
                <a:lnTo>
                  <a:pt x="0" y="24948"/>
                </a:lnTo>
                <a:lnTo>
                  <a:pt x="0" y="25171"/>
                </a:lnTo>
                <a:lnTo>
                  <a:pt x="3851" y="26901"/>
                </a:lnTo>
                <a:lnTo>
                  <a:pt x="3795" y="27068"/>
                </a:lnTo>
                <a:lnTo>
                  <a:pt x="3795" y="27236"/>
                </a:lnTo>
                <a:lnTo>
                  <a:pt x="3851" y="27515"/>
                </a:lnTo>
                <a:lnTo>
                  <a:pt x="4018" y="27682"/>
                </a:lnTo>
                <a:lnTo>
                  <a:pt x="4186" y="27850"/>
                </a:lnTo>
                <a:lnTo>
                  <a:pt x="4465" y="27906"/>
                </a:lnTo>
                <a:lnTo>
                  <a:pt x="4744" y="27850"/>
                </a:lnTo>
                <a:lnTo>
                  <a:pt x="4911" y="27682"/>
                </a:lnTo>
                <a:lnTo>
                  <a:pt x="5079" y="27515"/>
                </a:lnTo>
                <a:lnTo>
                  <a:pt x="5135" y="27236"/>
                </a:lnTo>
                <a:lnTo>
                  <a:pt x="5079" y="27013"/>
                </a:lnTo>
                <a:lnTo>
                  <a:pt x="20985" y="18808"/>
                </a:lnTo>
                <a:lnTo>
                  <a:pt x="21096" y="18920"/>
                </a:lnTo>
                <a:lnTo>
                  <a:pt x="21264" y="19032"/>
                </a:lnTo>
                <a:lnTo>
                  <a:pt x="21375" y="19088"/>
                </a:lnTo>
                <a:lnTo>
                  <a:pt x="21710" y="19088"/>
                </a:lnTo>
                <a:lnTo>
                  <a:pt x="21878" y="18976"/>
                </a:lnTo>
                <a:lnTo>
                  <a:pt x="38453" y="39458"/>
                </a:lnTo>
                <a:lnTo>
                  <a:pt x="38398" y="39570"/>
                </a:lnTo>
                <a:lnTo>
                  <a:pt x="38398" y="39737"/>
                </a:lnTo>
                <a:lnTo>
                  <a:pt x="38453" y="40016"/>
                </a:lnTo>
                <a:lnTo>
                  <a:pt x="38621" y="40184"/>
                </a:lnTo>
                <a:lnTo>
                  <a:pt x="38788" y="40351"/>
                </a:lnTo>
                <a:lnTo>
                  <a:pt x="39067" y="40407"/>
                </a:lnTo>
                <a:lnTo>
                  <a:pt x="39291" y="40351"/>
                </a:lnTo>
                <a:lnTo>
                  <a:pt x="39514" y="40240"/>
                </a:lnTo>
                <a:lnTo>
                  <a:pt x="39625" y="40072"/>
                </a:lnTo>
                <a:lnTo>
                  <a:pt x="39737" y="39849"/>
                </a:lnTo>
                <a:lnTo>
                  <a:pt x="55699" y="37170"/>
                </a:lnTo>
                <a:lnTo>
                  <a:pt x="55811" y="37282"/>
                </a:lnTo>
                <a:lnTo>
                  <a:pt x="55922" y="37393"/>
                </a:lnTo>
                <a:lnTo>
                  <a:pt x="56090" y="37505"/>
                </a:lnTo>
                <a:lnTo>
                  <a:pt x="56257" y="37505"/>
                </a:lnTo>
                <a:lnTo>
                  <a:pt x="56536" y="37449"/>
                </a:lnTo>
                <a:lnTo>
                  <a:pt x="56704" y="37282"/>
                </a:lnTo>
                <a:lnTo>
                  <a:pt x="56871" y="37114"/>
                </a:lnTo>
                <a:lnTo>
                  <a:pt x="56927" y="36835"/>
                </a:lnTo>
                <a:lnTo>
                  <a:pt x="56871" y="36556"/>
                </a:lnTo>
                <a:lnTo>
                  <a:pt x="73168" y="18529"/>
                </a:lnTo>
                <a:lnTo>
                  <a:pt x="73391" y="18697"/>
                </a:lnTo>
                <a:lnTo>
                  <a:pt x="73670" y="18753"/>
                </a:lnTo>
                <a:lnTo>
                  <a:pt x="73949" y="18697"/>
                </a:lnTo>
                <a:lnTo>
                  <a:pt x="74116" y="18529"/>
                </a:lnTo>
                <a:lnTo>
                  <a:pt x="74284" y="18362"/>
                </a:lnTo>
                <a:lnTo>
                  <a:pt x="74340" y="18083"/>
                </a:lnTo>
                <a:lnTo>
                  <a:pt x="74284" y="17860"/>
                </a:lnTo>
                <a:lnTo>
                  <a:pt x="90246" y="12725"/>
                </a:lnTo>
                <a:lnTo>
                  <a:pt x="90357" y="12893"/>
                </a:lnTo>
                <a:lnTo>
                  <a:pt x="90469" y="13060"/>
                </a:lnTo>
                <a:lnTo>
                  <a:pt x="90636" y="13116"/>
                </a:lnTo>
                <a:lnTo>
                  <a:pt x="90860" y="13172"/>
                </a:lnTo>
                <a:lnTo>
                  <a:pt x="91139" y="13116"/>
                </a:lnTo>
                <a:lnTo>
                  <a:pt x="91362" y="12948"/>
                </a:lnTo>
                <a:lnTo>
                  <a:pt x="107659" y="30082"/>
                </a:lnTo>
                <a:lnTo>
                  <a:pt x="107603" y="30361"/>
                </a:lnTo>
                <a:lnTo>
                  <a:pt x="107659" y="30640"/>
                </a:lnTo>
                <a:lnTo>
                  <a:pt x="107826" y="30808"/>
                </a:lnTo>
                <a:lnTo>
                  <a:pt x="107993" y="30975"/>
                </a:lnTo>
                <a:lnTo>
                  <a:pt x="108272" y="31031"/>
                </a:lnTo>
                <a:lnTo>
                  <a:pt x="108552" y="30975"/>
                </a:lnTo>
                <a:lnTo>
                  <a:pt x="108719" y="30808"/>
                </a:lnTo>
                <a:lnTo>
                  <a:pt x="108886" y="30640"/>
                </a:lnTo>
                <a:lnTo>
                  <a:pt x="108942" y="30361"/>
                </a:lnTo>
                <a:lnTo>
                  <a:pt x="108886" y="30082"/>
                </a:lnTo>
                <a:lnTo>
                  <a:pt x="125127" y="18195"/>
                </a:lnTo>
                <a:lnTo>
                  <a:pt x="125239" y="18362"/>
                </a:lnTo>
                <a:lnTo>
                  <a:pt x="125350" y="18418"/>
                </a:lnTo>
                <a:lnTo>
                  <a:pt x="125518" y="18529"/>
                </a:lnTo>
                <a:lnTo>
                  <a:pt x="125685" y="18529"/>
                </a:lnTo>
                <a:lnTo>
                  <a:pt x="125964" y="18474"/>
                </a:lnTo>
                <a:lnTo>
                  <a:pt x="126132" y="18306"/>
                </a:lnTo>
                <a:lnTo>
                  <a:pt x="126299" y="18139"/>
                </a:lnTo>
                <a:lnTo>
                  <a:pt x="126355" y="17860"/>
                </a:lnTo>
                <a:lnTo>
                  <a:pt x="126355" y="17804"/>
                </a:lnTo>
                <a:lnTo>
                  <a:pt x="142205" y="16130"/>
                </a:lnTo>
                <a:lnTo>
                  <a:pt x="142261" y="16409"/>
                </a:lnTo>
                <a:lnTo>
                  <a:pt x="142429" y="16576"/>
                </a:lnTo>
                <a:lnTo>
                  <a:pt x="142652" y="16688"/>
                </a:lnTo>
                <a:lnTo>
                  <a:pt x="142875" y="16743"/>
                </a:lnTo>
                <a:lnTo>
                  <a:pt x="143154" y="16688"/>
                </a:lnTo>
                <a:lnTo>
                  <a:pt x="143321" y="16520"/>
                </a:lnTo>
                <a:lnTo>
                  <a:pt x="143489" y="16353"/>
                </a:lnTo>
                <a:lnTo>
                  <a:pt x="143545" y="16074"/>
                </a:lnTo>
                <a:lnTo>
                  <a:pt x="143489" y="15906"/>
                </a:lnTo>
                <a:lnTo>
                  <a:pt x="143433" y="15683"/>
                </a:lnTo>
                <a:lnTo>
                  <a:pt x="159786" y="1061"/>
                </a:lnTo>
                <a:lnTo>
                  <a:pt x="160009" y="1284"/>
                </a:lnTo>
                <a:lnTo>
                  <a:pt x="160120" y="1340"/>
                </a:lnTo>
                <a:lnTo>
                  <a:pt x="160288" y="1340"/>
                </a:lnTo>
                <a:lnTo>
                  <a:pt x="160511" y="1284"/>
                </a:lnTo>
                <a:lnTo>
                  <a:pt x="160679" y="1228"/>
                </a:lnTo>
                <a:lnTo>
                  <a:pt x="160790" y="1117"/>
                </a:lnTo>
                <a:lnTo>
                  <a:pt x="160902" y="949"/>
                </a:lnTo>
                <a:lnTo>
                  <a:pt x="177031" y="6530"/>
                </a:lnTo>
                <a:lnTo>
                  <a:pt x="177031" y="6698"/>
                </a:lnTo>
                <a:lnTo>
                  <a:pt x="177087" y="6977"/>
                </a:lnTo>
                <a:lnTo>
                  <a:pt x="177254" y="7144"/>
                </a:lnTo>
                <a:lnTo>
                  <a:pt x="177422" y="7312"/>
                </a:lnTo>
                <a:lnTo>
                  <a:pt x="177701" y="7367"/>
                </a:lnTo>
                <a:lnTo>
                  <a:pt x="177868" y="7367"/>
                </a:lnTo>
                <a:lnTo>
                  <a:pt x="178036" y="7256"/>
                </a:lnTo>
                <a:lnTo>
                  <a:pt x="194388" y="25450"/>
                </a:lnTo>
                <a:lnTo>
                  <a:pt x="194277" y="25673"/>
                </a:lnTo>
                <a:lnTo>
                  <a:pt x="194221" y="25896"/>
                </a:lnTo>
                <a:lnTo>
                  <a:pt x="194277" y="26175"/>
                </a:lnTo>
                <a:lnTo>
                  <a:pt x="194444" y="26343"/>
                </a:lnTo>
                <a:lnTo>
                  <a:pt x="194611" y="26510"/>
                </a:lnTo>
                <a:lnTo>
                  <a:pt x="194890" y="26566"/>
                </a:lnTo>
                <a:lnTo>
                  <a:pt x="195058" y="26566"/>
                </a:lnTo>
                <a:lnTo>
                  <a:pt x="195169" y="26510"/>
                </a:lnTo>
                <a:lnTo>
                  <a:pt x="195337" y="26399"/>
                </a:lnTo>
                <a:lnTo>
                  <a:pt x="195449" y="26287"/>
                </a:lnTo>
                <a:lnTo>
                  <a:pt x="211410" y="32538"/>
                </a:lnTo>
                <a:lnTo>
                  <a:pt x="211410" y="32594"/>
                </a:lnTo>
                <a:lnTo>
                  <a:pt x="211466" y="32873"/>
                </a:lnTo>
                <a:lnTo>
                  <a:pt x="211634" y="33040"/>
                </a:lnTo>
                <a:lnTo>
                  <a:pt x="211801" y="33208"/>
                </a:lnTo>
                <a:lnTo>
                  <a:pt x="212080" y="33263"/>
                </a:lnTo>
                <a:lnTo>
                  <a:pt x="212359" y="33208"/>
                </a:lnTo>
                <a:lnTo>
                  <a:pt x="212527" y="33040"/>
                </a:lnTo>
                <a:lnTo>
                  <a:pt x="212694" y="32873"/>
                </a:lnTo>
                <a:lnTo>
                  <a:pt x="212750" y="32594"/>
                </a:lnTo>
                <a:lnTo>
                  <a:pt x="212750" y="32538"/>
                </a:lnTo>
                <a:lnTo>
                  <a:pt x="229214" y="22994"/>
                </a:lnTo>
                <a:lnTo>
                  <a:pt x="229437" y="23162"/>
                </a:lnTo>
                <a:lnTo>
                  <a:pt x="229716" y="23217"/>
                </a:lnTo>
                <a:lnTo>
                  <a:pt x="229995" y="23162"/>
                </a:lnTo>
                <a:lnTo>
                  <a:pt x="230163" y="22994"/>
                </a:lnTo>
                <a:lnTo>
                  <a:pt x="230330" y="22827"/>
                </a:lnTo>
                <a:lnTo>
                  <a:pt x="230386" y="22548"/>
                </a:lnTo>
                <a:lnTo>
                  <a:pt x="230386" y="22492"/>
                </a:lnTo>
                <a:lnTo>
                  <a:pt x="246180" y="16297"/>
                </a:lnTo>
                <a:lnTo>
                  <a:pt x="246404" y="16464"/>
                </a:lnTo>
                <a:lnTo>
                  <a:pt x="246683" y="16520"/>
                </a:lnTo>
                <a:lnTo>
                  <a:pt x="246962" y="16464"/>
                </a:lnTo>
                <a:lnTo>
                  <a:pt x="247129" y="16297"/>
                </a:lnTo>
                <a:lnTo>
                  <a:pt x="247297" y="16130"/>
                </a:lnTo>
                <a:lnTo>
                  <a:pt x="247352" y="15851"/>
                </a:lnTo>
                <a:lnTo>
                  <a:pt x="247297" y="15683"/>
                </a:lnTo>
                <a:lnTo>
                  <a:pt x="263761" y="1507"/>
                </a:lnTo>
                <a:lnTo>
                  <a:pt x="263872" y="1619"/>
                </a:lnTo>
                <a:lnTo>
                  <a:pt x="264040" y="1730"/>
                </a:lnTo>
                <a:lnTo>
                  <a:pt x="264151" y="1786"/>
                </a:lnTo>
                <a:lnTo>
                  <a:pt x="264319" y="1786"/>
                </a:lnTo>
                <a:lnTo>
                  <a:pt x="264542" y="1730"/>
                </a:lnTo>
                <a:lnTo>
                  <a:pt x="264765" y="1619"/>
                </a:lnTo>
                <a:lnTo>
                  <a:pt x="264877" y="1451"/>
                </a:lnTo>
                <a:lnTo>
                  <a:pt x="264988" y="1228"/>
                </a:lnTo>
                <a:lnTo>
                  <a:pt x="280839" y="3237"/>
                </a:lnTo>
                <a:lnTo>
                  <a:pt x="280839" y="3349"/>
                </a:lnTo>
                <a:lnTo>
                  <a:pt x="280894" y="3628"/>
                </a:lnTo>
                <a:lnTo>
                  <a:pt x="281062" y="3795"/>
                </a:lnTo>
                <a:lnTo>
                  <a:pt x="281229" y="3963"/>
                </a:lnTo>
                <a:lnTo>
                  <a:pt x="281508" y="4019"/>
                </a:lnTo>
                <a:lnTo>
                  <a:pt x="281787" y="3963"/>
                </a:lnTo>
                <a:lnTo>
                  <a:pt x="281955" y="3795"/>
                </a:lnTo>
                <a:lnTo>
                  <a:pt x="282122" y="3628"/>
                </a:lnTo>
                <a:lnTo>
                  <a:pt x="282178" y="3349"/>
                </a:lnTo>
                <a:lnTo>
                  <a:pt x="285750" y="3349"/>
                </a:lnTo>
                <a:lnTo>
                  <a:pt x="285750" y="3126"/>
                </a:lnTo>
                <a:lnTo>
                  <a:pt x="282122" y="3126"/>
                </a:lnTo>
                <a:lnTo>
                  <a:pt x="282067" y="2958"/>
                </a:lnTo>
                <a:lnTo>
                  <a:pt x="281899" y="2791"/>
                </a:lnTo>
                <a:lnTo>
                  <a:pt x="281732" y="2735"/>
                </a:lnTo>
                <a:lnTo>
                  <a:pt x="281508" y="2679"/>
                </a:lnTo>
                <a:lnTo>
                  <a:pt x="281341" y="2679"/>
                </a:lnTo>
                <a:lnTo>
                  <a:pt x="281174" y="2791"/>
                </a:lnTo>
                <a:lnTo>
                  <a:pt x="281006" y="2902"/>
                </a:lnTo>
                <a:lnTo>
                  <a:pt x="280894" y="3014"/>
                </a:lnTo>
                <a:lnTo>
                  <a:pt x="264988" y="1005"/>
                </a:lnTo>
                <a:lnTo>
                  <a:pt x="264877" y="782"/>
                </a:lnTo>
                <a:lnTo>
                  <a:pt x="264765" y="614"/>
                </a:lnTo>
                <a:lnTo>
                  <a:pt x="264542" y="503"/>
                </a:lnTo>
                <a:lnTo>
                  <a:pt x="264319" y="447"/>
                </a:lnTo>
                <a:lnTo>
                  <a:pt x="264040" y="503"/>
                </a:lnTo>
                <a:lnTo>
                  <a:pt x="263872" y="670"/>
                </a:lnTo>
                <a:lnTo>
                  <a:pt x="263705" y="838"/>
                </a:lnTo>
                <a:lnTo>
                  <a:pt x="263649" y="1117"/>
                </a:lnTo>
                <a:lnTo>
                  <a:pt x="263705" y="1284"/>
                </a:lnTo>
                <a:lnTo>
                  <a:pt x="247241" y="15460"/>
                </a:lnTo>
                <a:lnTo>
                  <a:pt x="247129" y="15348"/>
                </a:lnTo>
                <a:lnTo>
                  <a:pt x="246962" y="15237"/>
                </a:lnTo>
                <a:lnTo>
                  <a:pt x="246850" y="15181"/>
                </a:lnTo>
                <a:lnTo>
                  <a:pt x="246683" y="15181"/>
                </a:lnTo>
                <a:lnTo>
                  <a:pt x="246404" y="15237"/>
                </a:lnTo>
                <a:lnTo>
                  <a:pt x="246236" y="15404"/>
                </a:lnTo>
                <a:lnTo>
                  <a:pt x="246069" y="15571"/>
                </a:lnTo>
                <a:lnTo>
                  <a:pt x="246013" y="15851"/>
                </a:lnTo>
                <a:lnTo>
                  <a:pt x="246069" y="16130"/>
                </a:lnTo>
                <a:lnTo>
                  <a:pt x="230330" y="22269"/>
                </a:lnTo>
                <a:lnTo>
                  <a:pt x="230219" y="22101"/>
                </a:lnTo>
                <a:lnTo>
                  <a:pt x="230051" y="21990"/>
                </a:lnTo>
                <a:lnTo>
                  <a:pt x="229884" y="21934"/>
                </a:lnTo>
                <a:lnTo>
                  <a:pt x="229716" y="21878"/>
                </a:lnTo>
                <a:lnTo>
                  <a:pt x="229437" y="21934"/>
                </a:lnTo>
                <a:lnTo>
                  <a:pt x="229270" y="22101"/>
                </a:lnTo>
                <a:lnTo>
                  <a:pt x="229102" y="22269"/>
                </a:lnTo>
                <a:lnTo>
                  <a:pt x="229046" y="22548"/>
                </a:lnTo>
                <a:lnTo>
                  <a:pt x="229102" y="22827"/>
                </a:lnTo>
                <a:lnTo>
                  <a:pt x="212694" y="32315"/>
                </a:lnTo>
                <a:lnTo>
                  <a:pt x="212582" y="32147"/>
                </a:lnTo>
                <a:lnTo>
                  <a:pt x="212415" y="32036"/>
                </a:lnTo>
                <a:lnTo>
                  <a:pt x="212248" y="31924"/>
                </a:lnTo>
                <a:lnTo>
                  <a:pt x="212080" y="31924"/>
                </a:lnTo>
                <a:lnTo>
                  <a:pt x="211913" y="31980"/>
                </a:lnTo>
                <a:lnTo>
                  <a:pt x="211745" y="32036"/>
                </a:lnTo>
                <a:lnTo>
                  <a:pt x="211578" y="32147"/>
                </a:lnTo>
                <a:lnTo>
                  <a:pt x="211466" y="32315"/>
                </a:lnTo>
                <a:lnTo>
                  <a:pt x="195504" y="26120"/>
                </a:lnTo>
                <a:lnTo>
                  <a:pt x="195560" y="25896"/>
                </a:lnTo>
                <a:lnTo>
                  <a:pt x="195504" y="25617"/>
                </a:lnTo>
                <a:lnTo>
                  <a:pt x="195337" y="25450"/>
                </a:lnTo>
                <a:lnTo>
                  <a:pt x="195169" y="25282"/>
                </a:lnTo>
                <a:lnTo>
                  <a:pt x="194890" y="25227"/>
                </a:lnTo>
                <a:lnTo>
                  <a:pt x="194723" y="25227"/>
                </a:lnTo>
                <a:lnTo>
                  <a:pt x="194556" y="25338"/>
                </a:lnTo>
                <a:lnTo>
                  <a:pt x="178203" y="7144"/>
                </a:lnTo>
                <a:lnTo>
                  <a:pt x="178315" y="6921"/>
                </a:lnTo>
                <a:lnTo>
                  <a:pt x="178371" y="6698"/>
                </a:lnTo>
                <a:lnTo>
                  <a:pt x="178315" y="6419"/>
                </a:lnTo>
                <a:lnTo>
                  <a:pt x="178147" y="6251"/>
                </a:lnTo>
                <a:lnTo>
                  <a:pt x="177980" y="6084"/>
                </a:lnTo>
                <a:lnTo>
                  <a:pt x="177701" y="6028"/>
                </a:lnTo>
                <a:lnTo>
                  <a:pt x="177533" y="6028"/>
                </a:lnTo>
                <a:lnTo>
                  <a:pt x="177366" y="6084"/>
                </a:lnTo>
                <a:lnTo>
                  <a:pt x="177254" y="6195"/>
                </a:lnTo>
                <a:lnTo>
                  <a:pt x="177143" y="6307"/>
                </a:lnTo>
                <a:lnTo>
                  <a:pt x="160958" y="726"/>
                </a:lnTo>
                <a:lnTo>
                  <a:pt x="160958" y="670"/>
                </a:lnTo>
                <a:lnTo>
                  <a:pt x="160902" y="391"/>
                </a:lnTo>
                <a:lnTo>
                  <a:pt x="160734" y="224"/>
                </a:lnTo>
                <a:lnTo>
                  <a:pt x="160567" y="56"/>
                </a:lnTo>
                <a:lnTo>
                  <a:pt x="160288" y="0"/>
                </a:lnTo>
                <a:close/>
              </a:path>
            </a:pathLst>
          </a:custGeom>
          <a:solidFill>
            <a:srgbClr val="FFFFFF">
              <a:alpha val="3500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656" name="Google Shape;656;p9"/>
          <p:cNvSpPr txBox="1">
            <a:spLocks noGrp="1"/>
          </p:cNvSpPr>
          <p:nvPr>
            <p:ph type="title"/>
          </p:nvPr>
        </p:nvSpPr>
        <p:spPr>
          <a:xfrm>
            <a:off x="739675" y="535000"/>
            <a:ext cx="7686000" cy="1143200"/>
          </a:xfrm>
          <a:prstGeom prst="rect">
            <a:avLst/>
          </a:prstGeom>
        </p:spPr>
        <p:txBody>
          <a:bodyPr spcFirstLastPara="1" wrap="square" lIns="91425" tIns="91425" rIns="91425" bIns="91425" anchor="b" anchorCtr="0">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657" name="Google Shape;657;p9"/>
          <p:cNvSpPr txBox="1">
            <a:spLocks noGrp="1"/>
          </p:cNvSpPr>
          <p:nvPr>
            <p:ph type="sldNum" idx="12"/>
          </p:nvPr>
        </p:nvSpPr>
        <p:spPr>
          <a:xfrm>
            <a:off x="8586575" y="-15833"/>
            <a:ext cx="557400" cy="7304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no graph">
  <p:cSld name="TITLE_ONLY_1">
    <p:spTree>
      <p:nvGrpSpPr>
        <p:cNvPr id="1" name="Shape 658"/>
        <p:cNvGrpSpPr/>
        <p:nvPr/>
      </p:nvGrpSpPr>
      <p:grpSpPr>
        <a:xfrm>
          <a:off x="0" y="0"/>
          <a:ext cx="0" cy="0"/>
          <a:chOff x="0" y="0"/>
          <a:chExt cx="0" cy="0"/>
        </a:xfrm>
      </p:grpSpPr>
      <p:sp>
        <p:nvSpPr>
          <p:cNvPr id="659" name="Google Shape;659;p10"/>
          <p:cNvSpPr/>
          <p:nvPr/>
        </p:nvSpPr>
        <p:spPr>
          <a:xfrm>
            <a:off x="-25" y="-15833"/>
            <a:ext cx="9144000" cy="1097600"/>
          </a:xfrm>
          <a:prstGeom prst="rect">
            <a:avLst/>
          </a:prstGeom>
          <a:solidFill>
            <a:srgbClr val="00041C">
              <a:alpha val="1846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660" name="Google Shape;660;p10"/>
          <p:cNvSpPr txBox="1">
            <a:spLocks noGrp="1"/>
          </p:cNvSpPr>
          <p:nvPr>
            <p:ph type="title"/>
          </p:nvPr>
        </p:nvSpPr>
        <p:spPr>
          <a:xfrm>
            <a:off x="739675" y="-1"/>
            <a:ext cx="7686000" cy="9552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661" name="Google Shape;661;p10"/>
          <p:cNvSpPr txBox="1">
            <a:spLocks noGrp="1"/>
          </p:cNvSpPr>
          <p:nvPr>
            <p:ph type="sldNum" idx="12"/>
          </p:nvPr>
        </p:nvSpPr>
        <p:spPr>
          <a:xfrm>
            <a:off x="8586575" y="-15833"/>
            <a:ext cx="557400" cy="7304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66"/>
        <p:cNvGrpSpPr/>
        <p:nvPr/>
      </p:nvGrpSpPr>
      <p:grpSpPr>
        <a:xfrm>
          <a:off x="0" y="0"/>
          <a:ext cx="0" cy="0"/>
          <a:chOff x="0" y="0"/>
          <a:chExt cx="0" cy="0"/>
        </a:xfrm>
      </p:grpSpPr>
      <p:sp>
        <p:nvSpPr>
          <p:cNvPr id="667" name="Google Shape;667;p12"/>
          <p:cNvSpPr txBox="1">
            <a:spLocks noGrp="1"/>
          </p:cNvSpPr>
          <p:nvPr>
            <p:ph type="sldNum" idx="12"/>
          </p:nvPr>
        </p:nvSpPr>
        <p:spPr>
          <a:xfrm>
            <a:off x="8586575" y="-15833"/>
            <a:ext cx="557400" cy="7304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with frame">
  <p:cSld name="BLANK_1">
    <p:spTree>
      <p:nvGrpSpPr>
        <p:cNvPr id="1" name="Shape 772"/>
        <p:cNvGrpSpPr/>
        <p:nvPr/>
      </p:nvGrpSpPr>
      <p:grpSpPr>
        <a:xfrm>
          <a:off x="0" y="0"/>
          <a:ext cx="0" cy="0"/>
          <a:chOff x="0" y="0"/>
          <a:chExt cx="0" cy="0"/>
        </a:xfrm>
      </p:grpSpPr>
      <p:sp>
        <p:nvSpPr>
          <p:cNvPr id="773" name="Google Shape;773;p14"/>
          <p:cNvSpPr/>
          <p:nvPr/>
        </p:nvSpPr>
        <p:spPr>
          <a:xfrm>
            <a:off x="-175" y="0"/>
            <a:ext cx="9144000" cy="6858000"/>
          </a:xfrm>
          <a:prstGeom prst="frame">
            <a:avLst>
              <a:gd name="adj1" fmla="val 5397"/>
            </a:avLst>
          </a:prstGeom>
          <a:solidFill>
            <a:srgbClr val="00041C">
              <a:alpha val="1846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774" name="Google Shape;774;p14"/>
          <p:cNvSpPr txBox="1">
            <a:spLocks noGrp="1"/>
          </p:cNvSpPr>
          <p:nvPr>
            <p:ph type="sldNum" idx="12"/>
          </p:nvPr>
        </p:nvSpPr>
        <p:spPr>
          <a:xfrm>
            <a:off x="8586575" y="-15833"/>
            <a:ext cx="557400" cy="7304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p:nvPr/>
        </p:nvSpPr>
        <p:spPr>
          <a:xfrm>
            <a:off x="0" y="0"/>
            <a:ext cx="9144000" cy="6857984"/>
          </a:xfrm>
          <a:custGeom>
            <a:avLst/>
            <a:gdLst/>
            <a:ahLst/>
            <a:cxnLst/>
            <a:rect l="l" t="t" r="r" b="b"/>
            <a:pathLst>
              <a:path w="285750" h="160734" extrusionOk="0">
                <a:moveTo>
                  <a:pt x="17190" y="8595"/>
                </a:moveTo>
                <a:lnTo>
                  <a:pt x="17190" y="16799"/>
                </a:lnTo>
                <a:lnTo>
                  <a:pt x="8762" y="16799"/>
                </a:lnTo>
                <a:lnTo>
                  <a:pt x="8762" y="8595"/>
                </a:lnTo>
                <a:close/>
                <a:moveTo>
                  <a:pt x="25840" y="8595"/>
                </a:moveTo>
                <a:lnTo>
                  <a:pt x="25840" y="16799"/>
                </a:lnTo>
                <a:lnTo>
                  <a:pt x="17413" y="16799"/>
                </a:lnTo>
                <a:lnTo>
                  <a:pt x="17413" y="8595"/>
                </a:lnTo>
                <a:close/>
                <a:moveTo>
                  <a:pt x="34547" y="8595"/>
                </a:moveTo>
                <a:lnTo>
                  <a:pt x="34547" y="16799"/>
                </a:lnTo>
                <a:lnTo>
                  <a:pt x="26064" y="16799"/>
                </a:lnTo>
                <a:lnTo>
                  <a:pt x="26064" y="8595"/>
                </a:lnTo>
                <a:close/>
                <a:moveTo>
                  <a:pt x="43197" y="8595"/>
                </a:moveTo>
                <a:lnTo>
                  <a:pt x="43197" y="16799"/>
                </a:lnTo>
                <a:lnTo>
                  <a:pt x="34770" y="16799"/>
                </a:lnTo>
                <a:lnTo>
                  <a:pt x="34770" y="8595"/>
                </a:lnTo>
                <a:close/>
                <a:moveTo>
                  <a:pt x="51848" y="8595"/>
                </a:moveTo>
                <a:lnTo>
                  <a:pt x="51848" y="16799"/>
                </a:lnTo>
                <a:lnTo>
                  <a:pt x="43421" y="16799"/>
                </a:lnTo>
                <a:lnTo>
                  <a:pt x="43421" y="8595"/>
                </a:lnTo>
                <a:close/>
                <a:moveTo>
                  <a:pt x="60499" y="8595"/>
                </a:moveTo>
                <a:lnTo>
                  <a:pt x="60499" y="16799"/>
                </a:lnTo>
                <a:lnTo>
                  <a:pt x="52071" y="16799"/>
                </a:lnTo>
                <a:lnTo>
                  <a:pt x="52071" y="8595"/>
                </a:lnTo>
                <a:close/>
                <a:moveTo>
                  <a:pt x="69149" y="8595"/>
                </a:moveTo>
                <a:lnTo>
                  <a:pt x="69149" y="16799"/>
                </a:lnTo>
                <a:lnTo>
                  <a:pt x="60722" y="16799"/>
                </a:lnTo>
                <a:lnTo>
                  <a:pt x="60722" y="8595"/>
                </a:lnTo>
                <a:close/>
                <a:moveTo>
                  <a:pt x="77800" y="8595"/>
                </a:moveTo>
                <a:lnTo>
                  <a:pt x="77800" y="16799"/>
                </a:lnTo>
                <a:lnTo>
                  <a:pt x="69373" y="16799"/>
                </a:lnTo>
                <a:lnTo>
                  <a:pt x="69373" y="8595"/>
                </a:lnTo>
                <a:close/>
                <a:moveTo>
                  <a:pt x="86506" y="8595"/>
                </a:moveTo>
                <a:lnTo>
                  <a:pt x="86506" y="16799"/>
                </a:lnTo>
                <a:lnTo>
                  <a:pt x="78023" y="16799"/>
                </a:lnTo>
                <a:lnTo>
                  <a:pt x="78023" y="8595"/>
                </a:lnTo>
                <a:close/>
                <a:moveTo>
                  <a:pt x="95157" y="8595"/>
                </a:moveTo>
                <a:lnTo>
                  <a:pt x="95157" y="16799"/>
                </a:lnTo>
                <a:lnTo>
                  <a:pt x="86730" y="16799"/>
                </a:lnTo>
                <a:lnTo>
                  <a:pt x="86730" y="8595"/>
                </a:lnTo>
                <a:close/>
                <a:moveTo>
                  <a:pt x="103808" y="8595"/>
                </a:moveTo>
                <a:lnTo>
                  <a:pt x="103808" y="16799"/>
                </a:lnTo>
                <a:lnTo>
                  <a:pt x="95380" y="16799"/>
                </a:lnTo>
                <a:lnTo>
                  <a:pt x="95380" y="8595"/>
                </a:lnTo>
                <a:close/>
                <a:moveTo>
                  <a:pt x="112458" y="8595"/>
                </a:moveTo>
                <a:lnTo>
                  <a:pt x="112458" y="16799"/>
                </a:lnTo>
                <a:lnTo>
                  <a:pt x="104031" y="16799"/>
                </a:lnTo>
                <a:lnTo>
                  <a:pt x="104031" y="8595"/>
                </a:lnTo>
                <a:close/>
                <a:moveTo>
                  <a:pt x="121109" y="8595"/>
                </a:moveTo>
                <a:lnTo>
                  <a:pt x="121109" y="16799"/>
                </a:lnTo>
                <a:lnTo>
                  <a:pt x="112681" y="16799"/>
                </a:lnTo>
                <a:lnTo>
                  <a:pt x="112681" y="8595"/>
                </a:lnTo>
                <a:close/>
                <a:moveTo>
                  <a:pt x="129760" y="8595"/>
                </a:moveTo>
                <a:lnTo>
                  <a:pt x="129760" y="16799"/>
                </a:lnTo>
                <a:lnTo>
                  <a:pt x="121332" y="16799"/>
                </a:lnTo>
                <a:lnTo>
                  <a:pt x="121332" y="8595"/>
                </a:lnTo>
                <a:close/>
                <a:moveTo>
                  <a:pt x="138410" y="8595"/>
                </a:moveTo>
                <a:lnTo>
                  <a:pt x="138410" y="16799"/>
                </a:lnTo>
                <a:lnTo>
                  <a:pt x="129983" y="16799"/>
                </a:lnTo>
                <a:lnTo>
                  <a:pt x="129983" y="8595"/>
                </a:lnTo>
                <a:close/>
                <a:moveTo>
                  <a:pt x="147117" y="8595"/>
                </a:moveTo>
                <a:lnTo>
                  <a:pt x="147117" y="16799"/>
                </a:lnTo>
                <a:lnTo>
                  <a:pt x="138633" y="16799"/>
                </a:lnTo>
                <a:lnTo>
                  <a:pt x="138633" y="8595"/>
                </a:lnTo>
                <a:close/>
                <a:moveTo>
                  <a:pt x="155767" y="8595"/>
                </a:moveTo>
                <a:lnTo>
                  <a:pt x="155767" y="16799"/>
                </a:lnTo>
                <a:lnTo>
                  <a:pt x="147340" y="16799"/>
                </a:lnTo>
                <a:lnTo>
                  <a:pt x="147340" y="8595"/>
                </a:lnTo>
                <a:close/>
                <a:moveTo>
                  <a:pt x="164418" y="8595"/>
                </a:moveTo>
                <a:lnTo>
                  <a:pt x="164418" y="16799"/>
                </a:lnTo>
                <a:lnTo>
                  <a:pt x="155990" y="16799"/>
                </a:lnTo>
                <a:lnTo>
                  <a:pt x="155990" y="8595"/>
                </a:lnTo>
                <a:close/>
                <a:moveTo>
                  <a:pt x="173069" y="8595"/>
                </a:moveTo>
                <a:lnTo>
                  <a:pt x="173069" y="16799"/>
                </a:lnTo>
                <a:lnTo>
                  <a:pt x="164641" y="16799"/>
                </a:lnTo>
                <a:lnTo>
                  <a:pt x="164641" y="8595"/>
                </a:lnTo>
                <a:close/>
                <a:moveTo>
                  <a:pt x="181719" y="8595"/>
                </a:moveTo>
                <a:lnTo>
                  <a:pt x="181719" y="16799"/>
                </a:lnTo>
                <a:lnTo>
                  <a:pt x="173292" y="16799"/>
                </a:lnTo>
                <a:lnTo>
                  <a:pt x="173292" y="8595"/>
                </a:lnTo>
                <a:close/>
                <a:moveTo>
                  <a:pt x="190370" y="8595"/>
                </a:moveTo>
                <a:lnTo>
                  <a:pt x="190370" y="16799"/>
                </a:lnTo>
                <a:lnTo>
                  <a:pt x="181942" y="16799"/>
                </a:lnTo>
                <a:lnTo>
                  <a:pt x="181942" y="8595"/>
                </a:lnTo>
                <a:close/>
                <a:moveTo>
                  <a:pt x="199020" y="8595"/>
                </a:moveTo>
                <a:lnTo>
                  <a:pt x="199020" y="16799"/>
                </a:lnTo>
                <a:lnTo>
                  <a:pt x="190593" y="16799"/>
                </a:lnTo>
                <a:lnTo>
                  <a:pt x="190593" y="8595"/>
                </a:lnTo>
                <a:close/>
                <a:moveTo>
                  <a:pt x="207727" y="8595"/>
                </a:moveTo>
                <a:lnTo>
                  <a:pt x="207727" y="16799"/>
                </a:lnTo>
                <a:lnTo>
                  <a:pt x="199244" y="16799"/>
                </a:lnTo>
                <a:lnTo>
                  <a:pt x="199244" y="8595"/>
                </a:lnTo>
                <a:close/>
                <a:moveTo>
                  <a:pt x="216377" y="8595"/>
                </a:moveTo>
                <a:lnTo>
                  <a:pt x="216377" y="16799"/>
                </a:lnTo>
                <a:lnTo>
                  <a:pt x="207950" y="16799"/>
                </a:lnTo>
                <a:lnTo>
                  <a:pt x="207950" y="8595"/>
                </a:lnTo>
                <a:close/>
                <a:moveTo>
                  <a:pt x="225028" y="8595"/>
                </a:moveTo>
                <a:lnTo>
                  <a:pt x="225028" y="16799"/>
                </a:lnTo>
                <a:lnTo>
                  <a:pt x="216601" y="16799"/>
                </a:lnTo>
                <a:lnTo>
                  <a:pt x="216601" y="8595"/>
                </a:lnTo>
                <a:close/>
                <a:moveTo>
                  <a:pt x="233679" y="8595"/>
                </a:moveTo>
                <a:lnTo>
                  <a:pt x="233679" y="16799"/>
                </a:lnTo>
                <a:lnTo>
                  <a:pt x="225251" y="16799"/>
                </a:lnTo>
                <a:lnTo>
                  <a:pt x="225251" y="8595"/>
                </a:lnTo>
                <a:close/>
                <a:moveTo>
                  <a:pt x="242329" y="8595"/>
                </a:moveTo>
                <a:lnTo>
                  <a:pt x="242329" y="16799"/>
                </a:lnTo>
                <a:lnTo>
                  <a:pt x="233902" y="16799"/>
                </a:lnTo>
                <a:lnTo>
                  <a:pt x="233902" y="8595"/>
                </a:lnTo>
                <a:close/>
                <a:moveTo>
                  <a:pt x="250980" y="8595"/>
                </a:moveTo>
                <a:lnTo>
                  <a:pt x="250980" y="16799"/>
                </a:lnTo>
                <a:lnTo>
                  <a:pt x="242553" y="16799"/>
                </a:lnTo>
                <a:lnTo>
                  <a:pt x="242553" y="8595"/>
                </a:lnTo>
                <a:close/>
                <a:moveTo>
                  <a:pt x="259686" y="8595"/>
                </a:moveTo>
                <a:lnTo>
                  <a:pt x="259686" y="16799"/>
                </a:lnTo>
                <a:lnTo>
                  <a:pt x="251203" y="16799"/>
                </a:lnTo>
                <a:lnTo>
                  <a:pt x="251203" y="8595"/>
                </a:lnTo>
                <a:close/>
                <a:moveTo>
                  <a:pt x="268337" y="8595"/>
                </a:moveTo>
                <a:lnTo>
                  <a:pt x="268337" y="16799"/>
                </a:lnTo>
                <a:lnTo>
                  <a:pt x="259910" y="16799"/>
                </a:lnTo>
                <a:lnTo>
                  <a:pt x="259910" y="8595"/>
                </a:lnTo>
                <a:close/>
                <a:moveTo>
                  <a:pt x="276988" y="8595"/>
                </a:moveTo>
                <a:lnTo>
                  <a:pt x="276988" y="16799"/>
                </a:lnTo>
                <a:lnTo>
                  <a:pt x="268560" y="16799"/>
                </a:lnTo>
                <a:lnTo>
                  <a:pt x="268560" y="8595"/>
                </a:lnTo>
                <a:close/>
                <a:moveTo>
                  <a:pt x="17190" y="17022"/>
                </a:moveTo>
                <a:lnTo>
                  <a:pt x="17190" y="25282"/>
                </a:lnTo>
                <a:lnTo>
                  <a:pt x="8762" y="25282"/>
                </a:lnTo>
                <a:lnTo>
                  <a:pt x="8762" y="17022"/>
                </a:lnTo>
                <a:close/>
                <a:moveTo>
                  <a:pt x="25840" y="17022"/>
                </a:moveTo>
                <a:lnTo>
                  <a:pt x="25840" y="25282"/>
                </a:lnTo>
                <a:lnTo>
                  <a:pt x="17413" y="25282"/>
                </a:lnTo>
                <a:lnTo>
                  <a:pt x="17413" y="17022"/>
                </a:lnTo>
                <a:close/>
                <a:moveTo>
                  <a:pt x="34547" y="17022"/>
                </a:moveTo>
                <a:lnTo>
                  <a:pt x="34547" y="25282"/>
                </a:lnTo>
                <a:lnTo>
                  <a:pt x="26064" y="25282"/>
                </a:lnTo>
                <a:lnTo>
                  <a:pt x="26064" y="17022"/>
                </a:lnTo>
                <a:close/>
                <a:moveTo>
                  <a:pt x="43197" y="17022"/>
                </a:moveTo>
                <a:lnTo>
                  <a:pt x="43197" y="25282"/>
                </a:lnTo>
                <a:lnTo>
                  <a:pt x="34770" y="25282"/>
                </a:lnTo>
                <a:lnTo>
                  <a:pt x="34770" y="17022"/>
                </a:lnTo>
                <a:close/>
                <a:moveTo>
                  <a:pt x="51848" y="17022"/>
                </a:moveTo>
                <a:lnTo>
                  <a:pt x="51848" y="25282"/>
                </a:lnTo>
                <a:lnTo>
                  <a:pt x="43421" y="25282"/>
                </a:lnTo>
                <a:lnTo>
                  <a:pt x="43421" y="17022"/>
                </a:lnTo>
                <a:close/>
                <a:moveTo>
                  <a:pt x="60499" y="17022"/>
                </a:moveTo>
                <a:lnTo>
                  <a:pt x="60499" y="25282"/>
                </a:lnTo>
                <a:lnTo>
                  <a:pt x="52071" y="25282"/>
                </a:lnTo>
                <a:lnTo>
                  <a:pt x="52071" y="17022"/>
                </a:lnTo>
                <a:close/>
                <a:moveTo>
                  <a:pt x="69149" y="17022"/>
                </a:moveTo>
                <a:lnTo>
                  <a:pt x="69149" y="25282"/>
                </a:lnTo>
                <a:lnTo>
                  <a:pt x="60722" y="25282"/>
                </a:lnTo>
                <a:lnTo>
                  <a:pt x="60722" y="17022"/>
                </a:lnTo>
                <a:close/>
                <a:moveTo>
                  <a:pt x="77800" y="17022"/>
                </a:moveTo>
                <a:lnTo>
                  <a:pt x="77800" y="25282"/>
                </a:lnTo>
                <a:lnTo>
                  <a:pt x="69373" y="25282"/>
                </a:lnTo>
                <a:lnTo>
                  <a:pt x="69373" y="17022"/>
                </a:lnTo>
                <a:close/>
                <a:moveTo>
                  <a:pt x="86506" y="17022"/>
                </a:moveTo>
                <a:lnTo>
                  <a:pt x="86506" y="25282"/>
                </a:lnTo>
                <a:lnTo>
                  <a:pt x="78023" y="25282"/>
                </a:lnTo>
                <a:lnTo>
                  <a:pt x="78023" y="17022"/>
                </a:lnTo>
                <a:close/>
                <a:moveTo>
                  <a:pt x="95157" y="17022"/>
                </a:moveTo>
                <a:lnTo>
                  <a:pt x="95157" y="25282"/>
                </a:lnTo>
                <a:lnTo>
                  <a:pt x="86730" y="25282"/>
                </a:lnTo>
                <a:lnTo>
                  <a:pt x="86730" y="17022"/>
                </a:lnTo>
                <a:close/>
                <a:moveTo>
                  <a:pt x="103808" y="17022"/>
                </a:moveTo>
                <a:lnTo>
                  <a:pt x="103808" y="25282"/>
                </a:lnTo>
                <a:lnTo>
                  <a:pt x="95380" y="25282"/>
                </a:lnTo>
                <a:lnTo>
                  <a:pt x="95380" y="17022"/>
                </a:lnTo>
                <a:close/>
                <a:moveTo>
                  <a:pt x="112458" y="17022"/>
                </a:moveTo>
                <a:lnTo>
                  <a:pt x="112458" y="25282"/>
                </a:lnTo>
                <a:lnTo>
                  <a:pt x="104031" y="25282"/>
                </a:lnTo>
                <a:lnTo>
                  <a:pt x="104031" y="17022"/>
                </a:lnTo>
                <a:close/>
                <a:moveTo>
                  <a:pt x="121109" y="17022"/>
                </a:moveTo>
                <a:lnTo>
                  <a:pt x="121109" y="25282"/>
                </a:lnTo>
                <a:lnTo>
                  <a:pt x="112681" y="25282"/>
                </a:lnTo>
                <a:lnTo>
                  <a:pt x="112681" y="17022"/>
                </a:lnTo>
                <a:close/>
                <a:moveTo>
                  <a:pt x="129760" y="17022"/>
                </a:moveTo>
                <a:lnTo>
                  <a:pt x="129760" y="25282"/>
                </a:lnTo>
                <a:lnTo>
                  <a:pt x="121332" y="25282"/>
                </a:lnTo>
                <a:lnTo>
                  <a:pt x="121332" y="17022"/>
                </a:lnTo>
                <a:close/>
                <a:moveTo>
                  <a:pt x="138410" y="17022"/>
                </a:moveTo>
                <a:lnTo>
                  <a:pt x="138410" y="25282"/>
                </a:lnTo>
                <a:lnTo>
                  <a:pt x="129983" y="25282"/>
                </a:lnTo>
                <a:lnTo>
                  <a:pt x="129983" y="17022"/>
                </a:lnTo>
                <a:close/>
                <a:moveTo>
                  <a:pt x="147117" y="17022"/>
                </a:moveTo>
                <a:lnTo>
                  <a:pt x="147117" y="25282"/>
                </a:lnTo>
                <a:lnTo>
                  <a:pt x="138633" y="25282"/>
                </a:lnTo>
                <a:lnTo>
                  <a:pt x="138633" y="17022"/>
                </a:lnTo>
                <a:close/>
                <a:moveTo>
                  <a:pt x="155767" y="17022"/>
                </a:moveTo>
                <a:lnTo>
                  <a:pt x="155767" y="25282"/>
                </a:lnTo>
                <a:lnTo>
                  <a:pt x="147340" y="25282"/>
                </a:lnTo>
                <a:lnTo>
                  <a:pt x="147340" y="17022"/>
                </a:lnTo>
                <a:close/>
                <a:moveTo>
                  <a:pt x="164418" y="17022"/>
                </a:moveTo>
                <a:lnTo>
                  <a:pt x="164418" y="25282"/>
                </a:lnTo>
                <a:lnTo>
                  <a:pt x="155990" y="25282"/>
                </a:lnTo>
                <a:lnTo>
                  <a:pt x="155990" y="17022"/>
                </a:lnTo>
                <a:close/>
                <a:moveTo>
                  <a:pt x="173069" y="17022"/>
                </a:moveTo>
                <a:lnTo>
                  <a:pt x="173069" y="25282"/>
                </a:lnTo>
                <a:lnTo>
                  <a:pt x="164641" y="25282"/>
                </a:lnTo>
                <a:lnTo>
                  <a:pt x="164641" y="17022"/>
                </a:lnTo>
                <a:close/>
                <a:moveTo>
                  <a:pt x="181719" y="17022"/>
                </a:moveTo>
                <a:lnTo>
                  <a:pt x="181719" y="25282"/>
                </a:lnTo>
                <a:lnTo>
                  <a:pt x="173292" y="25282"/>
                </a:lnTo>
                <a:lnTo>
                  <a:pt x="173292" y="17022"/>
                </a:lnTo>
                <a:close/>
                <a:moveTo>
                  <a:pt x="190370" y="17022"/>
                </a:moveTo>
                <a:lnTo>
                  <a:pt x="190370" y="25282"/>
                </a:lnTo>
                <a:lnTo>
                  <a:pt x="181942" y="25282"/>
                </a:lnTo>
                <a:lnTo>
                  <a:pt x="181942" y="17022"/>
                </a:lnTo>
                <a:close/>
                <a:moveTo>
                  <a:pt x="199020" y="17022"/>
                </a:moveTo>
                <a:lnTo>
                  <a:pt x="199020" y="25282"/>
                </a:lnTo>
                <a:lnTo>
                  <a:pt x="190593" y="25282"/>
                </a:lnTo>
                <a:lnTo>
                  <a:pt x="190593" y="17022"/>
                </a:lnTo>
                <a:close/>
                <a:moveTo>
                  <a:pt x="207727" y="17022"/>
                </a:moveTo>
                <a:lnTo>
                  <a:pt x="207727" y="25282"/>
                </a:lnTo>
                <a:lnTo>
                  <a:pt x="199244" y="25282"/>
                </a:lnTo>
                <a:lnTo>
                  <a:pt x="199244" y="17022"/>
                </a:lnTo>
                <a:close/>
                <a:moveTo>
                  <a:pt x="216377" y="17022"/>
                </a:moveTo>
                <a:lnTo>
                  <a:pt x="216377" y="25282"/>
                </a:lnTo>
                <a:lnTo>
                  <a:pt x="207950" y="25282"/>
                </a:lnTo>
                <a:lnTo>
                  <a:pt x="207950" y="17022"/>
                </a:lnTo>
                <a:close/>
                <a:moveTo>
                  <a:pt x="225028" y="17022"/>
                </a:moveTo>
                <a:lnTo>
                  <a:pt x="225028" y="25282"/>
                </a:lnTo>
                <a:lnTo>
                  <a:pt x="216601" y="25282"/>
                </a:lnTo>
                <a:lnTo>
                  <a:pt x="216601" y="17022"/>
                </a:lnTo>
                <a:close/>
                <a:moveTo>
                  <a:pt x="233679" y="17022"/>
                </a:moveTo>
                <a:lnTo>
                  <a:pt x="233679" y="25282"/>
                </a:lnTo>
                <a:lnTo>
                  <a:pt x="225251" y="25282"/>
                </a:lnTo>
                <a:lnTo>
                  <a:pt x="225251" y="17022"/>
                </a:lnTo>
                <a:close/>
                <a:moveTo>
                  <a:pt x="242329" y="17022"/>
                </a:moveTo>
                <a:lnTo>
                  <a:pt x="242329" y="25282"/>
                </a:lnTo>
                <a:lnTo>
                  <a:pt x="233902" y="25282"/>
                </a:lnTo>
                <a:lnTo>
                  <a:pt x="233902" y="17022"/>
                </a:lnTo>
                <a:close/>
                <a:moveTo>
                  <a:pt x="250980" y="17022"/>
                </a:moveTo>
                <a:lnTo>
                  <a:pt x="250980" y="25282"/>
                </a:lnTo>
                <a:lnTo>
                  <a:pt x="242553" y="25282"/>
                </a:lnTo>
                <a:lnTo>
                  <a:pt x="242553" y="17022"/>
                </a:lnTo>
                <a:close/>
                <a:moveTo>
                  <a:pt x="259686" y="17022"/>
                </a:moveTo>
                <a:lnTo>
                  <a:pt x="259686" y="25282"/>
                </a:lnTo>
                <a:lnTo>
                  <a:pt x="251203" y="25282"/>
                </a:lnTo>
                <a:lnTo>
                  <a:pt x="251203" y="17022"/>
                </a:lnTo>
                <a:close/>
                <a:moveTo>
                  <a:pt x="268337" y="17022"/>
                </a:moveTo>
                <a:lnTo>
                  <a:pt x="268337" y="25282"/>
                </a:lnTo>
                <a:lnTo>
                  <a:pt x="259910" y="25282"/>
                </a:lnTo>
                <a:lnTo>
                  <a:pt x="259910" y="17022"/>
                </a:lnTo>
                <a:close/>
                <a:moveTo>
                  <a:pt x="276988" y="17022"/>
                </a:moveTo>
                <a:lnTo>
                  <a:pt x="276988" y="25282"/>
                </a:lnTo>
                <a:lnTo>
                  <a:pt x="268560" y="25282"/>
                </a:lnTo>
                <a:lnTo>
                  <a:pt x="268560" y="17022"/>
                </a:lnTo>
                <a:close/>
                <a:moveTo>
                  <a:pt x="17190" y="25505"/>
                </a:moveTo>
                <a:lnTo>
                  <a:pt x="17190" y="33709"/>
                </a:lnTo>
                <a:lnTo>
                  <a:pt x="8762" y="33709"/>
                </a:lnTo>
                <a:lnTo>
                  <a:pt x="8762" y="25505"/>
                </a:lnTo>
                <a:close/>
                <a:moveTo>
                  <a:pt x="25840" y="25505"/>
                </a:moveTo>
                <a:lnTo>
                  <a:pt x="25840" y="33709"/>
                </a:lnTo>
                <a:lnTo>
                  <a:pt x="17413" y="33709"/>
                </a:lnTo>
                <a:lnTo>
                  <a:pt x="17413" y="25505"/>
                </a:lnTo>
                <a:close/>
                <a:moveTo>
                  <a:pt x="34547" y="25505"/>
                </a:moveTo>
                <a:lnTo>
                  <a:pt x="34547" y="33709"/>
                </a:lnTo>
                <a:lnTo>
                  <a:pt x="26064" y="33709"/>
                </a:lnTo>
                <a:lnTo>
                  <a:pt x="26064" y="25505"/>
                </a:lnTo>
                <a:close/>
                <a:moveTo>
                  <a:pt x="43197" y="25505"/>
                </a:moveTo>
                <a:lnTo>
                  <a:pt x="43197" y="33709"/>
                </a:lnTo>
                <a:lnTo>
                  <a:pt x="34770" y="33709"/>
                </a:lnTo>
                <a:lnTo>
                  <a:pt x="34770" y="25505"/>
                </a:lnTo>
                <a:close/>
                <a:moveTo>
                  <a:pt x="51848" y="25505"/>
                </a:moveTo>
                <a:lnTo>
                  <a:pt x="51848" y="33709"/>
                </a:lnTo>
                <a:lnTo>
                  <a:pt x="43421" y="33709"/>
                </a:lnTo>
                <a:lnTo>
                  <a:pt x="43421" y="25505"/>
                </a:lnTo>
                <a:close/>
                <a:moveTo>
                  <a:pt x="60499" y="25505"/>
                </a:moveTo>
                <a:lnTo>
                  <a:pt x="60499" y="33709"/>
                </a:lnTo>
                <a:lnTo>
                  <a:pt x="52071" y="33709"/>
                </a:lnTo>
                <a:lnTo>
                  <a:pt x="52071" y="25505"/>
                </a:lnTo>
                <a:close/>
                <a:moveTo>
                  <a:pt x="69149" y="25505"/>
                </a:moveTo>
                <a:lnTo>
                  <a:pt x="69149" y="33709"/>
                </a:lnTo>
                <a:lnTo>
                  <a:pt x="60722" y="33709"/>
                </a:lnTo>
                <a:lnTo>
                  <a:pt x="60722" y="25505"/>
                </a:lnTo>
                <a:close/>
                <a:moveTo>
                  <a:pt x="77800" y="25505"/>
                </a:moveTo>
                <a:lnTo>
                  <a:pt x="77800" y="33709"/>
                </a:lnTo>
                <a:lnTo>
                  <a:pt x="69373" y="33709"/>
                </a:lnTo>
                <a:lnTo>
                  <a:pt x="69373" y="25505"/>
                </a:lnTo>
                <a:close/>
                <a:moveTo>
                  <a:pt x="86506" y="25505"/>
                </a:moveTo>
                <a:lnTo>
                  <a:pt x="86506" y="33709"/>
                </a:lnTo>
                <a:lnTo>
                  <a:pt x="78023" y="33709"/>
                </a:lnTo>
                <a:lnTo>
                  <a:pt x="78023" y="25505"/>
                </a:lnTo>
                <a:close/>
                <a:moveTo>
                  <a:pt x="95157" y="25505"/>
                </a:moveTo>
                <a:lnTo>
                  <a:pt x="95157" y="33709"/>
                </a:lnTo>
                <a:lnTo>
                  <a:pt x="86730" y="33709"/>
                </a:lnTo>
                <a:lnTo>
                  <a:pt x="86730" y="25505"/>
                </a:lnTo>
                <a:close/>
                <a:moveTo>
                  <a:pt x="103808" y="25505"/>
                </a:moveTo>
                <a:lnTo>
                  <a:pt x="103808" y="33709"/>
                </a:lnTo>
                <a:lnTo>
                  <a:pt x="95380" y="33709"/>
                </a:lnTo>
                <a:lnTo>
                  <a:pt x="95380" y="25505"/>
                </a:lnTo>
                <a:close/>
                <a:moveTo>
                  <a:pt x="112458" y="25505"/>
                </a:moveTo>
                <a:lnTo>
                  <a:pt x="112458" y="33709"/>
                </a:lnTo>
                <a:lnTo>
                  <a:pt x="104031" y="33709"/>
                </a:lnTo>
                <a:lnTo>
                  <a:pt x="104031" y="25505"/>
                </a:lnTo>
                <a:close/>
                <a:moveTo>
                  <a:pt x="121109" y="25505"/>
                </a:moveTo>
                <a:lnTo>
                  <a:pt x="121109" y="33709"/>
                </a:lnTo>
                <a:lnTo>
                  <a:pt x="112681" y="33709"/>
                </a:lnTo>
                <a:lnTo>
                  <a:pt x="112681" y="25505"/>
                </a:lnTo>
                <a:close/>
                <a:moveTo>
                  <a:pt x="129760" y="25505"/>
                </a:moveTo>
                <a:lnTo>
                  <a:pt x="129760" y="33709"/>
                </a:lnTo>
                <a:lnTo>
                  <a:pt x="121332" y="33709"/>
                </a:lnTo>
                <a:lnTo>
                  <a:pt x="121332" y="25505"/>
                </a:lnTo>
                <a:close/>
                <a:moveTo>
                  <a:pt x="138410" y="25505"/>
                </a:moveTo>
                <a:lnTo>
                  <a:pt x="138410" y="33709"/>
                </a:lnTo>
                <a:lnTo>
                  <a:pt x="129983" y="33709"/>
                </a:lnTo>
                <a:lnTo>
                  <a:pt x="129983" y="25505"/>
                </a:lnTo>
                <a:close/>
                <a:moveTo>
                  <a:pt x="147117" y="25505"/>
                </a:moveTo>
                <a:lnTo>
                  <a:pt x="147117" y="33709"/>
                </a:lnTo>
                <a:lnTo>
                  <a:pt x="138633" y="33709"/>
                </a:lnTo>
                <a:lnTo>
                  <a:pt x="138633" y="25505"/>
                </a:lnTo>
                <a:close/>
                <a:moveTo>
                  <a:pt x="155767" y="25505"/>
                </a:moveTo>
                <a:lnTo>
                  <a:pt x="155767" y="33709"/>
                </a:lnTo>
                <a:lnTo>
                  <a:pt x="147340" y="33709"/>
                </a:lnTo>
                <a:lnTo>
                  <a:pt x="147340" y="25505"/>
                </a:lnTo>
                <a:close/>
                <a:moveTo>
                  <a:pt x="164418" y="25505"/>
                </a:moveTo>
                <a:lnTo>
                  <a:pt x="164418" y="33709"/>
                </a:lnTo>
                <a:lnTo>
                  <a:pt x="155990" y="33709"/>
                </a:lnTo>
                <a:lnTo>
                  <a:pt x="155990" y="25505"/>
                </a:lnTo>
                <a:close/>
                <a:moveTo>
                  <a:pt x="173069" y="25505"/>
                </a:moveTo>
                <a:lnTo>
                  <a:pt x="173069" y="33709"/>
                </a:lnTo>
                <a:lnTo>
                  <a:pt x="164641" y="33709"/>
                </a:lnTo>
                <a:lnTo>
                  <a:pt x="164641" y="25505"/>
                </a:lnTo>
                <a:close/>
                <a:moveTo>
                  <a:pt x="181719" y="25505"/>
                </a:moveTo>
                <a:lnTo>
                  <a:pt x="181719" y="33709"/>
                </a:lnTo>
                <a:lnTo>
                  <a:pt x="173292" y="33709"/>
                </a:lnTo>
                <a:lnTo>
                  <a:pt x="173292" y="25505"/>
                </a:lnTo>
                <a:close/>
                <a:moveTo>
                  <a:pt x="190370" y="25505"/>
                </a:moveTo>
                <a:lnTo>
                  <a:pt x="190370" y="33709"/>
                </a:lnTo>
                <a:lnTo>
                  <a:pt x="181942" y="33709"/>
                </a:lnTo>
                <a:lnTo>
                  <a:pt x="181942" y="25505"/>
                </a:lnTo>
                <a:close/>
                <a:moveTo>
                  <a:pt x="199020" y="25505"/>
                </a:moveTo>
                <a:lnTo>
                  <a:pt x="199020" y="33709"/>
                </a:lnTo>
                <a:lnTo>
                  <a:pt x="190593" y="33709"/>
                </a:lnTo>
                <a:lnTo>
                  <a:pt x="190593" y="25505"/>
                </a:lnTo>
                <a:close/>
                <a:moveTo>
                  <a:pt x="207727" y="25505"/>
                </a:moveTo>
                <a:lnTo>
                  <a:pt x="207727" y="33709"/>
                </a:lnTo>
                <a:lnTo>
                  <a:pt x="199244" y="33709"/>
                </a:lnTo>
                <a:lnTo>
                  <a:pt x="199244" y="25505"/>
                </a:lnTo>
                <a:close/>
                <a:moveTo>
                  <a:pt x="216377" y="25505"/>
                </a:moveTo>
                <a:lnTo>
                  <a:pt x="216377" y="33709"/>
                </a:lnTo>
                <a:lnTo>
                  <a:pt x="207950" y="33709"/>
                </a:lnTo>
                <a:lnTo>
                  <a:pt x="207950" y="25505"/>
                </a:lnTo>
                <a:close/>
                <a:moveTo>
                  <a:pt x="225028" y="25505"/>
                </a:moveTo>
                <a:lnTo>
                  <a:pt x="225028" y="33709"/>
                </a:lnTo>
                <a:lnTo>
                  <a:pt x="216601" y="33709"/>
                </a:lnTo>
                <a:lnTo>
                  <a:pt x="216601" y="25505"/>
                </a:lnTo>
                <a:close/>
                <a:moveTo>
                  <a:pt x="233679" y="25505"/>
                </a:moveTo>
                <a:lnTo>
                  <a:pt x="233679" y="33709"/>
                </a:lnTo>
                <a:lnTo>
                  <a:pt x="225251" y="33709"/>
                </a:lnTo>
                <a:lnTo>
                  <a:pt x="225251" y="25505"/>
                </a:lnTo>
                <a:close/>
                <a:moveTo>
                  <a:pt x="242329" y="25505"/>
                </a:moveTo>
                <a:lnTo>
                  <a:pt x="242329" y="33709"/>
                </a:lnTo>
                <a:lnTo>
                  <a:pt x="233902" y="33709"/>
                </a:lnTo>
                <a:lnTo>
                  <a:pt x="233902" y="25505"/>
                </a:lnTo>
                <a:close/>
                <a:moveTo>
                  <a:pt x="250980" y="25505"/>
                </a:moveTo>
                <a:lnTo>
                  <a:pt x="250980" y="33709"/>
                </a:lnTo>
                <a:lnTo>
                  <a:pt x="242553" y="33709"/>
                </a:lnTo>
                <a:lnTo>
                  <a:pt x="242553" y="25505"/>
                </a:lnTo>
                <a:close/>
                <a:moveTo>
                  <a:pt x="259686" y="25505"/>
                </a:moveTo>
                <a:lnTo>
                  <a:pt x="259686" y="33709"/>
                </a:lnTo>
                <a:lnTo>
                  <a:pt x="251203" y="33709"/>
                </a:lnTo>
                <a:lnTo>
                  <a:pt x="251203" y="25505"/>
                </a:lnTo>
                <a:close/>
                <a:moveTo>
                  <a:pt x="268337" y="25505"/>
                </a:moveTo>
                <a:lnTo>
                  <a:pt x="268337" y="33709"/>
                </a:lnTo>
                <a:lnTo>
                  <a:pt x="259910" y="33709"/>
                </a:lnTo>
                <a:lnTo>
                  <a:pt x="259910" y="25505"/>
                </a:lnTo>
                <a:close/>
                <a:moveTo>
                  <a:pt x="276988" y="25505"/>
                </a:moveTo>
                <a:lnTo>
                  <a:pt x="276988" y="33709"/>
                </a:lnTo>
                <a:lnTo>
                  <a:pt x="268560" y="33709"/>
                </a:lnTo>
                <a:lnTo>
                  <a:pt x="268560" y="25505"/>
                </a:lnTo>
                <a:close/>
                <a:moveTo>
                  <a:pt x="17190" y="33933"/>
                </a:moveTo>
                <a:lnTo>
                  <a:pt x="17190" y="42193"/>
                </a:lnTo>
                <a:lnTo>
                  <a:pt x="8762" y="42193"/>
                </a:lnTo>
                <a:lnTo>
                  <a:pt x="8762" y="33933"/>
                </a:lnTo>
                <a:close/>
                <a:moveTo>
                  <a:pt x="25840" y="33933"/>
                </a:moveTo>
                <a:lnTo>
                  <a:pt x="25840" y="42193"/>
                </a:lnTo>
                <a:lnTo>
                  <a:pt x="17413" y="42193"/>
                </a:lnTo>
                <a:lnTo>
                  <a:pt x="17413" y="33933"/>
                </a:lnTo>
                <a:close/>
                <a:moveTo>
                  <a:pt x="34547" y="33933"/>
                </a:moveTo>
                <a:lnTo>
                  <a:pt x="34547" y="42193"/>
                </a:lnTo>
                <a:lnTo>
                  <a:pt x="26064" y="42193"/>
                </a:lnTo>
                <a:lnTo>
                  <a:pt x="26064" y="33933"/>
                </a:lnTo>
                <a:close/>
                <a:moveTo>
                  <a:pt x="43197" y="33933"/>
                </a:moveTo>
                <a:lnTo>
                  <a:pt x="43197" y="42193"/>
                </a:lnTo>
                <a:lnTo>
                  <a:pt x="34770" y="42193"/>
                </a:lnTo>
                <a:lnTo>
                  <a:pt x="34770" y="33933"/>
                </a:lnTo>
                <a:close/>
                <a:moveTo>
                  <a:pt x="51848" y="33933"/>
                </a:moveTo>
                <a:lnTo>
                  <a:pt x="51848" y="42193"/>
                </a:lnTo>
                <a:lnTo>
                  <a:pt x="43421" y="42193"/>
                </a:lnTo>
                <a:lnTo>
                  <a:pt x="43421" y="33933"/>
                </a:lnTo>
                <a:close/>
                <a:moveTo>
                  <a:pt x="60499" y="33933"/>
                </a:moveTo>
                <a:lnTo>
                  <a:pt x="60499" y="42193"/>
                </a:lnTo>
                <a:lnTo>
                  <a:pt x="52071" y="42193"/>
                </a:lnTo>
                <a:lnTo>
                  <a:pt x="52071" y="33933"/>
                </a:lnTo>
                <a:close/>
                <a:moveTo>
                  <a:pt x="69149" y="33933"/>
                </a:moveTo>
                <a:lnTo>
                  <a:pt x="69149" y="42193"/>
                </a:lnTo>
                <a:lnTo>
                  <a:pt x="60722" y="42193"/>
                </a:lnTo>
                <a:lnTo>
                  <a:pt x="60722" y="33933"/>
                </a:lnTo>
                <a:close/>
                <a:moveTo>
                  <a:pt x="77800" y="33933"/>
                </a:moveTo>
                <a:lnTo>
                  <a:pt x="77800" y="42193"/>
                </a:lnTo>
                <a:lnTo>
                  <a:pt x="69373" y="42193"/>
                </a:lnTo>
                <a:lnTo>
                  <a:pt x="69373" y="33933"/>
                </a:lnTo>
                <a:close/>
                <a:moveTo>
                  <a:pt x="86506" y="33933"/>
                </a:moveTo>
                <a:lnTo>
                  <a:pt x="86506" y="42193"/>
                </a:lnTo>
                <a:lnTo>
                  <a:pt x="78023" y="42193"/>
                </a:lnTo>
                <a:lnTo>
                  <a:pt x="78023" y="33933"/>
                </a:lnTo>
                <a:close/>
                <a:moveTo>
                  <a:pt x="95157" y="33933"/>
                </a:moveTo>
                <a:lnTo>
                  <a:pt x="95157" y="42193"/>
                </a:lnTo>
                <a:lnTo>
                  <a:pt x="86730" y="42193"/>
                </a:lnTo>
                <a:lnTo>
                  <a:pt x="86730" y="33933"/>
                </a:lnTo>
                <a:close/>
                <a:moveTo>
                  <a:pt x="103808" y="33933"/>
                </a:moveTo>
                <a:lnTo>
                  <a:pt x="103808" y="42193"/>
                </a:lnTo>
                <a:lnTo>
                  <a:pt x="95380" y="42193"/>
                </a:lnTo>
                <a:lnTo>
                  <a:pt x="95380" y="33933"/>
                </a:lnTo>
                <a:close/>
                <a:moveTo>
                  <a:pt x="112458" y="33933"/>
                </a:moveTo>
                <a:lnTo>
                  <a:pt x="112458" y="42193"/>
                </a:lnTo>
                <a:lnTo>
                  <a:pt x="104031" y="42193"/>
                </a:lnTo>
                <a:lnTo>
                  <a:pt x="104031" y="33933"/>
                </a:lnTo>
                <a:close/>
                <a:moveTo>
                  <a:pt x="121109" y="33933"/>
                </a:moveTo>
                <a:lnTo>
                  <a:pt x="121109" y="42193"/>
                </a:lnTo>
                <a:lnTo>
                  <a:pt x="112681" y="42193"/>
                </a:lnTo>
                <a:lnTo>
                  <a:pt x="112681" y="33933"/>
                </a:lnTo>
                <a:close/>
                <a:moveTo>
                  <a:pt x="129760" y="33933"/>
                </a:moveTo>
                <a:lnTo>
                  <a:pt x="129760" y="42193"/>
                </a:lnTo>
                <a:lnTo>
                  <a:pt x="121332" y="42193"/>
                </a:lnTo>
                <a:lnTo>
                  <a:pt x="121332" y="33933"/>
                </a:lnTo>
                <a:close/>
                <a:moveTo>
                  <a:pt x="138410" y="33933"/>
                </a:moveTo>
                <a:lnTo>
                  <a:pt x="138410" y="42193"/>
                </a:lnTo>
                <a:lnTo>
                  <a:pt x="129983" y="42193"/>
                </a:lnTo>
                <a:lnTo>
                  <a:pt x="129983" y="33933"/>
                </a:lnTo>
                <a:close/>
                <a:moveTo>
                  <a:pt x="147117" y="33933"/>
                </a:moveTo>
                <a:lnTo>
                  <a:pt x="147117" y="42193"/>
                </a:lnTo>
                <a:lnTo>
                  <a:pt x="138633" y="42193"/>
                </a:lnTo>
                <a:lnTo>
                  <a:pt x="138633" y="33933"/>
                </a:lnTo>
                <a:close/>
                <a:moveTo>
                  <a:pt x="155767" y="33933"/>
                </a:moveTo>
                <a:lnTo>
                  <a:pt x="155767" y="42193"/>
                </a:lnTo>
                <a:lnTo>
                  <a:pt x="147340" y="42193"/>
                </a:lnTo>
                <a:lnTo>
                  <a:pt x="147340" y="33933"/>
                </a:lnTo>
                <a:close/>
                <a:moveTo>
                  <a:pt x="164418" y="33933"/>
                </a:moveTo>
                <a:lnTo>
                  <a:pt x="164418" y="42193"/>
                </a:lnTo>
                <a:lnTo>
                  <a:pt x="155990" y="42193"/>
                </a:lnTo>
                <a:lnTo>
                  <a:pt x="155990" y="33933"/>
                </a:lnTo>
                <a:close/>
                <a:moveTo>
                  <a:pt x="173069" y="33933"/>
                </a:moveTo>
                <a:lnTo>
                  <a:pt x="173069" y="42193"/>
                </a:lnTo>
                <a:lnTo>
                  <a:pt x="164641" y="42193"/>
                </a:lnTo>
                <a:lnTo>
                  <a:pt x="164641" y="33933"/>
                </a:lnTo>
                <a:close/>
                <a:moveTo>
                  <a:pt x="181719" y="33933"/>
                </a:moveTo>
                <a:lnTo>
                  <a:pt x="181719" y="42193"/>
                </a:lnTo>
                <a:lnTo>
                  <a:pt x="173292" y="42193"/>
                </a:lnTo>
                <a:lnTo>
                  <a:pt x="173292" y="33933"/>
                </a:lnTo>
                <a:close/>
                <a:moveTo>
                  <a:pt x="190370" y="33933"/>
                </a:moveTo>
                <a:lnTo>
                  <a:pt x="190370" y="42193"/>
                </a:lnTo>
                <a:lnTo>
                  <a:pt x="181942" y="42193"/>
                </a:lnTo>
                <a:lnTo>
                  <a:pt x="181942" y="33933"/>
                </a:lnTo>
                <a:close/>
                <a:moveTo>
                  <a:pt x="199020" y="33933"/>
                </a:moveTo>
                <a:lnTo>
                  <a:pt x="199020" y="42193"/>
                </a:lnTo>
                <a:lnTo>
                  <a:pt x="190593" y="42193"/>
                </a:lnTo>
                <a:lnTo>
                  <a:pt x="190593" y="33933"/>
                </a:lnTo>
                <a:close/>
                <a:moveTo>
                  <a:pt x="207727" y="33933"/>
                </a:moveTo>
                <a:lnTo>
                  <a:pt x="207727" y="42193"/>
                </a:lnTo>
                <a:lnTo>
                  <a:pt x="199244" y="42193"/>
                </a:lnTo>
                <a:lnTo>
                  <a:pt x="199244" y="33933"/>
                </a:lnTo>
                <a:close/>
                <a:moveTo>
                  <a:pt x="216377" y="33933"/>
                </a:moveTo>
                <a:lnTo>
                  <a:pt x="216377" y="42193"/>
                </a:lnTo>
                <a:lnTo>
                  <a:pt x="207950" y="42193"/>
                </a:lnTo>
                <a:lnTo>
                  <a:pt x="207950" y="33933"/>
                </a:lnTo>
                <a:close/>
                <a:moveTo>
                  <a:pt x="225028" y="33933"/>
                </a:moveTo>
                <a:lnTo>
                  <a:pt x="225028" y="42193"/>
                </a:lnTo>
                <a:lnTo>
                  <a:pt x="216601" y="42193"/>
                </a:lnTo>
                <a:lnTo>
                  <a:pt x="216601" y="33933"/>
                </a:lnTo>
                <a:close/>
                <a:moveTo>
                  <a:pt x="233679" y="33933"/>
                </a:moveTo>
                <a:lnTo>
                  <a:pt x="233679" y="42193"/>
                </a:lnTo>
                <a:lnTo>
                  <a:pt x="225251" y="42193"/>
                </a:lnTo>
                <a:lnTo>
                  <a:pt x="225251" y="33933"/>
                </a:lnTo>
                <a:close/>
                <a:moveTo>
                  <a:pt x="242329" y="33933"/>
                </a:moveTo>
                <a:lnTo>
                  <a:pt x="242329" y="42193"/>
                </a:lnTo>
                <a:lnTo>
                  <a:pt x="233902" y="42193"/>
                </a:lnTo>
                <a:lnTo>
                  <a:pt x="233902" y="33933"/>
                </a:lnTo>
                <a:close/>
                <a:moveTo>
                  <a:pt x="250980" y="33933"/>
                </a:moveTo>
                <a:lnTo>
                  <a:pt x="250980" y="42193"/>
                </a:lnTo>
                <a:lnTo>
                  <a:pt x="242553" y="42193"/>
                </a:lnTo>
                <a:lnTo>
                  <a:pt x="242553" y="33933"/>
                </a:lnTo>
                <a:close/>
                <a:moveTo>
                  <a:pt x="259686" y="33933"/>
                </a:moveTo>
                <a:lnTo>
                  <a:pt x="259686" y="42193"/>
                </a:lnTo>
                <a:lnTo>
                  <a:pt x="251203" y="42193"/>
                </a:lnTo>
                <a:lnTo>
                  <a:pt x="251203" y="33933"/>
                </a:lnTo>
                <a:close/>
                <a:moveTo>
                  <a:pt x="268337" y="33933"/>
                </a:moveTo>
                <a:lnTo>
                  <a:pt x="268337" y="42193"/>
                </a:lnTo>
                <a:lnTo>
                  <a:pt x="259910" y="42193"/>
                </a:lnTo>
                <a:lnTo>
                  <a:pt x="259910" y="33933"/>
                </a:lnTo>
                <a:close/>
                <a:moveTo>
                  <a:pt x="276988" y="33933"/>
                </a:moveTo>
                <a:lnTo>
                  <a:pt x="276988" y="42193"/>
                </a:lnTo>
                <a:lnTo>
                  <a:pt x="268560" y="42193"/>
                </a:lnTo>
                <a:lnTo>
                  <a:pt x="268560" y="33933"/>
                </a:lnTo>
                <a:close/>
                <a:moveTo>
                  <a:pt x="17190" y="42416"/>
                </a:moveTo>
                <a:lnTo>
                  <a:pt x="17190" y="50620"/>
                </a:lnTo>
                <a:lnTo>
                  <a:pt x="8762" y="50620"/>
                </a:lnTo>
                <a:lnTo>
                  <a:pt x="8762" y="42416"/>
                </a:lnTo>
                <a:close/>
                <a:moveTo>
                  <a:pt x="25840" y="42416"/>
                </a:moveTo>
                <a:lnTo>
                  <a:pt x="25840" y="50620"/>
                </a:lnTo>
                <a:lnTo>
                  <a:pt x="17413" y="50620"/>
                </a:lnTo>
                <a:lnTo>
                  <a:pt x="17413" y="42416"/>
                </a:lnTo>
                <a:close/>
                <a:moveTo>
                  <a:pt x="34547" y="42416"/>
                </a:moveTo>
                <a:lnTo>
                  <a:pt x="34547" y="50620"/>
                </a:lnTo>
                <a:lnTo>
                  <a:pt x="26064" y="50620"/>
                </a:lnTo>
                <a:lnTo>
                  <a:pt x="26064" y="42416"/>
                </a:lnTo>
                <a:close/>
                <a:moveTo>
                  <a:pt x="43197" y="42416"/>
                </a:moveTo>
                <a:lnTo>
                  <a:pt x="43197" y="50620"/>
                </a:lnTo>
                <a:lnTo>
                  <a:pt x="34770" y="50620"/>
                </a:lnTo>
                <a:lnTo>
                  <a:pt x="34770" y="42416"/>
                </a:lnTo>
                <a:close/>
                <a:moveTo>
                  <a:pt x="51848" y="42416"/>
                </a:moveTo>
                <a:lnTo>
                  <a:pt x="51848" y="50620"/>
                </a:lnTo>
                <a:lnTo>
                  <a:pt x="43421" y="50620"/>
                </a:lnTo>
                <a:lnTo>
                  <a:pt x="43421" y="42416"/>
                </a:lnTo>
                <a:close/>
                <a:moveTo>
                  <a:pt x="60499" y="42416"/>
                </a:moveTo>
                <a:lnTo>
                  <a:pt x="60499" y="50620"/>
                </a:lnTo>
                <a:lnTo>
                  <a:pt x="52071" y="50620"/>
                </a:lnTo>
                <a:lnTo>
                  <a:pt x="52071" y="42416"/>
                </a:lnTo>
                <a:close/>
                <a:moveTo>
                  <a:pt x="69149" y="42416"/>
                </a:moveTo>
                <a:lnTo>
                  <a:pt x="69149" y="50620"/>
                </a:lnTo>
                <a:lnTo>
                  <a:pt x="60722" y="50620"/>
                </a:lnTo>
                <a:lnTo>
                  <a:pt x="60722" y="42416"/>
                </a:lnTo>
                <a:close/>
                <a:moveTo>
                  <a:pt x="77800" y="42416"/>
                </a:moveTo>
                <a:lnTo>
                  <a:pt x="77800" y="50620"/>
                </a:lnTo>
                <a:lnTo>
                  <a:pt x="69373" y="50620"/>
                </a:lnTo>
                <a:lnTo>
                  <a:pt x="69373" y="42416"/>
                </a:lnTo>
                <a:close/>
                <a:moveTo>
                  <a:pt x="86506" y="42416"/>
                </a:moveTo>
                <a:lnTo>
                  <a:pt x="86506" y="50620"/>
                </a:lnTo>
                <a:lnTo>
                  <a:pt x="78023" y="50620"/>
                </a:lnTo>
                <a:lnTo>
                  <a:pt x="78023" y="42416"/>
                </a:lnTo>
                <a:close/>
                <a:moveTo>
                  <a:pt x="95157" y="42416"/>
                </a:moveTo>
                <a:lnTo>
                  <a:pt x="95157" y="50620"/>
                </a:lnTo>
                <a:lnTo>
                  <a:pt x="86730" y="50620"/>
                </a:lnTo>
                <a:lnTo>
                  <a:pt x="86730" y="42416"/>
                </a:lnTo>
                <a:close/>
                <a:moveTo>
                  <a:pt x="103808" y="42416"/>
                </a:moveTo>
                <a:lnTo>
                  <a:pt x="103808" y="50620"/>
                </a:lnTo>
                <a:lnTo>
                  <a:pt x="95380" y="50620"/>
                </a:lnTo>
                <a:lnTo>
                  <a:pt x="95380" y="42416"/>
                </a:lnTo>
                <a:close/>
                <a:moveTo>
                  <a:pt x="112458" y="42416"/>
                </a:moveTo>
                <a:lnTo>
                  <a:pt x="112458" y="50620"/>
                </a:lnTo>
                <a:lnTo>
                  <a:pt x="104031" y="50620"/>
                </a:lnTo>
                <a:lnTo>
                  <a:pt x="104031" y="42416"/>
                </a:lnTo>
                <a:close/>
                <a:moveTo>
                  <a:pt x="121109" y="42416"/>
                </a:moveTo>
                <a:lnTo>
                  <a:pt x="121109" y="50620"/>
                </a:lnTo>
                <a:lnTo>
                  <a:pt x="112681" y="50620"/>
                </a:lnTo>
                <a:lnTo>
                  <a:pt x="112681" y="42416"/>
                </a:lnTo>
                <a:close/>
                <a:moveTo>
                  <a:pt x="129760" y="42416"/>
                </a:moveTo>
                <a:lnTo>
                  <a:pt x="129760" y="50620"/>
                </a:lnTo>
                <a:lnTo>
                  <a:pt x="121332" y="50620"/>
                </a:lnTo>
                <a:lnTo>
                  <a:pt x="121332" y="42416"/>
                </a:lnTo>
                <a:close/>
                <a:moveTo>
                  <a:pt x="138410" y="42416"/>
                </a:moveTo>
                <a:lnTo>
                  <a:pt x="138410" y="50620"/>
                </a:lnTo>
                <a:lnTo>
                  <a:pt x="129983" y="50620"/>
                </a:lnTo>
                <a:lnTo>
                  <a:pt x="129983" y="42416"/>
                </a:lnTo>
                <a:close/>
                <a:moveTo>
                  <a:pt x="147117" y="42416"/>
                </a:moveTo>
                <a:lnTo>
                  <a:pt x="147117" y="50620"/>
                </a:lnTo>
                <a:lnTo>
                  <a:pt x="138633" y="50620"/>
                </a:lnTo>
                <a:lnTo>
                  <a:pt x="138633" y="42416"/>
                </a:lnTo>
                <a:close/>
                <a:moveTo>
                  <a:pt x="155767" y="42416"/>
                </a:moveTo>
                <a:lnTo>
                  <a:pt x="155767" y="50620"/>
                </a:lnTo>
                <a:lnTo>
                  <a:pt x="147340" y="50620"/>
                </a:lnTo>
                <a:lnTo>
                  <a:pt x="147340" y="42416"/>
                </a:lnTo>
                <a:close/>
                <a:moveTo>
                  <a:pt x="164418" y="42416"/>
                </a:moveTo>
                <a:lnTo>
                  <a:pt x="164418" y="50620"/>
                </a:lnTo>
                <a:lnTo>
                  <a:pt x="155990" y="50620"/>
                </a:lnTo>
                <a:lnTo>
                  <a:pt x="155990" y="42416"/>
                </a:lnTo>
                <a:close/>
                <a:moveTo>
                  <a:pt x="173069" y="42416"/>
                </a:moveTo>
                <a:lnTo>
                  <a:pt x="173069" y="50620"/>
                </a:lnTo>
                <a:lnTo>
                  <a:pt x="164641" y="50620"/>
                </a:lnTo>
                <a:lnTo>
                  <a:pt x="164641" y="42416"/>
                </a:lnTo>
                <a:close/>
                <a:moveTo>
                  <a:pt x="181719" y="42416"/>
                </a:moveTo>
                <a:lnTo>
                  <a:pt x="181719" y="50620"/>
                </a:lnTo>
                <a:lnTo>
                  <a:pt x="173292" y="50620"/>
                </a:lnTo>
                <a:lnTo>
                  <a:pt x="173292" y="42416"/>
                </a:lnTo>
                <a:close/>
                <a:moveTo>
                  <a:pt x="190370" y="42416"/>
                </a:moveTo>
                <a:lnTo>
                  <a:pt x="190370" y="50620"/>
                </a:lnTo>
                <a:lnTo>
                  <a:pt x="181942" y="50620"/>
                </a:lnTo>
                <a:lnTo>
                  <a:pt x="181942" y="42416"/>
                </a:lnTo>
                <a:close/>
                <a:moveTo>
                  <a:pt x="199020" y="42416"/>
                </a:moveTo>
                <a:lnTo>
                  <a:pt x="199020" y="50620"/>
                </a:lnTo>
                <a:lnTo>
                  <a:pt x="190593" y="50620"/>
                </a:lnTo>
                <a:lnTo>
                  <a:pt x="190593" y="42416"/>
                </a:lnTo>
                <a:close/>
                <a:moveTo>
                  <a:pt x="207727" y="42416"/>
                </a:moveTo>
                <a:lnTo>
                  <a:pt x="207727" y="50620"/>
                </a:lnTo>
                <a:lnTo>
                  <a:pt x="199244" y="50620"/>
                </a:lnTo>
                <a:lnTo>
                  <a:pt x="199244" y="42416"/>
                </a:lnTo>
                <a:close/>
                <a:moveTo>
                  <a:pt x="216377" y="42416"/>
                </a:moveTo>
                <a:lnTo>
                  <a:pt x="216377" y="50620"/>
                </a:lnTo>
                <a:lnTo>
                  <a:pt x="207950" y="50620"/>
                </a:lnTo>
                <a:lnTo>
                  <a:pt x="207950" y="42416"/>
                </a:lnTo>
                <a:close/>
                <a:moveTo>
                  <a:pt x="225028" y="42416"/>
                </a:moveTo>
                <a:lnTo>
                  <a:pt x="225028" y="50620"/>
                </a:lnTo>
                <a:lnTo>
                  <a:pt x="216601" y="50620"/>
                </a:lnTo>
                <a:lnTo>
                  <a:pt x="216601" y="42416"/>
                </a:lnTo>
                <a:close/>
                <a:moveTo>
                  <a:pt x="233679" y="42416"/>
                </a:moveTo>
                <a:lnTo>
                  <a:pt x="233679" y="50620"/>
                </a:lnTo>
                <a:lnTo>
                  <a:pt x="225251" y="50620"/>
                </a:lnTo>
                <a:lnTo>
                  <a:pt x="225251" y="42416"/>
                </a:lnTo>
                <a:close/>
                <a:moveTo>
                  <a:pt x="242329" y="42416"/>
                </a:moveTo>
                <a:lnTo>
                  <a:pt x="242329" y="50620"/>
                </a:lnTo>
                <a:lnTo>
                  <a:pt x="233902" y="50620"/>
                </a:lnTo>
                <a:lnTo>
                  <a:pt x="233902" y="42416"/>
                </a:lnTo>
                <a:close/>
                <a:moveTo>
                  <a:pt x="250980" y="42416"/>
                </a:moveTo>
                <a:lnTo>
                  <a:pt x="250980" y="50620"/>
                </a:lnTo>
                <a:lnTo>
                  <a:pt x="242553" y="50620"/>
                </a:lnTo>
                <a:lnTo>
                  <a:pt x="242553" y="42416"/>
                </a:lnTo>
                <a:close/>
                <a:moveTo>
                  <a:pt x="259686" y="42416"/>
                </a:moveTo>
                <a:lnTo>
                  <a:pt x="259686" y="50620"/>
                </a:lnTo>
                <a:lnTo>
                  <a:pt x="251203" y="50620"/>
                </a:lnTo>
                <a:lnTo>
                  <a:pt x="251203" y="42416"/>
                </a:lnTo>
                <a:close/>
                <a:moveTo>
                  <a:pt x="268337" y="42416"/>
                </a:moveTo>
                <a:lnTo>
                  <a:pt x="268337" y="50620"/>
                </a:lnTo>
                <a:lnTo>
                  <a:pt x="259910" y="50620"/>
                </a:lnTo>
                <a:lnTo>
                  <a:pt x="259910" y="42416"/>
                </a:lnTo>
                <a:close/>
                <a:moveTo>
                  <a:pt x="276988" y="42416"/>
                </a:moveTo>
                <a:lnTo>
                  <a:pt x="276988" y="50620"/>
                </a:lnTo>
                <a:lnTo>
                  <a:pt x="268560" y="50620"/>
                </a:lnTo>
                <a:lnTo>
                  <a:pt x="268560" y="42416"/>
                </a:lnTo>
                <a:close/>
                <a:moveTo>
                  <a:pt x="17190" y="50843"/>
                </a:moveTo>
                <a:lnTo>
                  <a:pt x="17190" y="59103"/>
                </a:lnTo>
                <a:lnTo>
                  <a:pt x="8762" y="59103"/>
                </a:lnTo>
                <a:lnTo>
                  <a:pt x="8762" y="50843"/>
                </a:lnTo>
                <a:close/>
                <a:moveTo>
                  <a:pt x="25840" y="50843"/>
                </a:moveTo>
                <a:lnTo>
                  <a:pt x="25840" y="59103"/>
                </a:lnTo>
                <a:lnTo>
                  <a:pt x="17413" y="59103"/>
                </a:lnTo>
                <a:lnTo>
                  <a:pt x="17413" y="50843"/>
                </a:lnTo>
                <a:close/>
                <a:moveTo>
                  <a:pt x="34547" y="50843"/>
                </a:moveTo>
                <a:lnTo>
                  <a:pt x="34547" y="59103"/>
                </a:lnTo>
                <a:lnTo>
                  <a:pt x="26064" y="59103"/>
                </a:lnTo>
                <a:lnTo>
                  <a:pt x="26064" y="50843"/>
                </a:lnTo>
                <a:close/>
                <a:moveTo>
                  <a:pt x="43197" y="50843"/>
                </a:moveTo>
                <a:lnTo>
                  <a:pt x="43197" y="59103"/>
                </a:lnTo>
                <a:lnTo>
                  <a:pt x="34770" y="59103"/>
                </a:lnTo>
                <a:lnTo>
                  <a:pt x="34770" y="50843"/>
                </a:lnTo>
                <a:close/>
                <a:moveTo>
                  <a:pt x="51848" y="50843"/>
                </a:moveTo>
                <a:lnTo>
                  <a:pt x="51848" y="59103"/>
                </a:lnTo>
                <a:lnTo>
                  <a:pt x="43421" y="59103"/>
                </a:lnTo>
                <a:lnTo>
                  <a:pt x="43421" y="50843"/>
                </a:lnTo>
                <a:close/>
                <a:moveTo>
                  <a:pt x="60499" y="50843"/>
                </a:moveTo>
                <a:lnTo>
                  <a:pt x="60499" y="59103"/>
                </a:lnTo>
                <a:lnTo>
                  <a:pt x="52071" y="59103"/>
                </a:lnTo>
                <a:lnTo>
                  <a:pt x="52071" y="50843"/>
                </a:lnTo>
                <a:close/>
                <a:moveTo>
                  <a:pt x="69149" y="50843"/>
                </a:moveTo>
                <a:lnTo>
                  <a:pt x="69149" y="59103"/>
                </a:lnTo>
                <a:lnTo>
                  <a:pt x="60722" y="59103"/>
                </a:lnTo>
                <a:lnTo>
                  <a:pt x="60722" y="50843"/>
                </a:lnTo>
                <a:close/>
                <a:moveTo>
                  <a:pt x="77800" y="50843"/>
                </a:moveTo>
                <a:lnTo>
                  <a:pt x="77800" y="59103"/>
                </a:lnTo>
                <a:lnTo>
                  <a:pt x="69373" y="59103"/>
                </a:lnTo>
                <a:lnTo>
                  <a:pt x="69373" y="50843"/>
                </a:lnTo>
                <a:close/>
                <a:moveTo>
                  <a:pt x="86506" y="50843"/>
                </a:moveTo>
                <a:lnTo>
                  <a:pt x="86506" y="59103"/>
                </a:lnTo>
                <a:lnTo>
                  <a:pt x="78023" y="59103"/>
                </a:lnTo>
                <a:lnTo>
                  <a:pt x="78023" y="50843"/>
                </a:lnTo>
                <a:close/>
                <a:moveTo>
                  <a:pt x="95157" y="50843"/>
                </a:moveTo>
                <a:lnTo>
                  <a:pt x="95157" y="59103"/>
                </a:lnTo>
                <a:lnTo>
                  <a:pt x="86730" y="59103"/>
                </a:lnTo>
                <a:lnTo>
                  <a:pt x="86730" y="50843"/>
                </a:lnTo>
                <a:close/>
                <a:moveTo>
                  <a:pt x="103808" y="50843"/>
                </a:moveTo>
                <a:lnTo>
                  <a:pt x="103808" y="59103"/>
                </a:lnTo>
                <a:lnTo>
                  <a:pt x="95380" y="59103"/>
                </a:lnTo>
                <a:lnTo>
                  <a:pt x="95380" y="50843"/>
                </a:lnTo>
                <a:close/>
                <a:moveTo>
                  <a:pt x="112458" y="50843"/>
                </a:moveTo>
                <a:lnTo>
                  <a:pt x="112458" y="59103"/>
                </a:lnTo>
                <a:lnTo>
                  <a:pt x="104031" y="59103"/>
                </a:lnTo>
                <a:lnTo>
                  <a:pt x="104031" y="50843"/>
                </a:lnTo>
                <a:close/>
                <a:moveTo>
                  <a:pt x="121109" y="50843"/>
                </a:moveTo>
                <a:lnTo>
                  <a:pt x="121109" y="59103"/>
                </a:lnTo>
                <a:lnTo>
                  <a:pt x="112681" y="59103"/>
                </a:lnTo>
                <a:lnTo>
                  <a:pt x="112681" y="50843"/>
                </a:lnTo>
                <a:close/>
                <a:moveTo>
                  <a:pt x="129760" y="50843"/>
                </a:moveTo>
                <a:lnTo>
                  <a:pt x="129760" y="59103"/>
                </a:lnTo>
                <a:lnTo>
                  <a:pt x="121332" y="59103"/>
                </a:lnTo>
                <a:lnTo>
                  <a:pt x="121332" y="50843"/>
                </a:lnTo>
                <a:close/>
                <a:moveTo>
                  <a:pt x="138410" y="50843"/>
                </a:moveTo>
                <a:lnTo>
                  <a:pt x="138410" y="59103"/>
                </a:lnTo>
                <a:lnTo>
                  <a:pt x="129983" y="59103"/>
                </a:lnTo>
                <a:lnTo>
                  <a:pt x="129983" y="50843"/>
                </a:lnTo>
                <a:close/>
                <a:moveTo>
                  <a:pt x="147117" y="50843"/>
                </a:moveTo>
                <a:lnTo>
                  <a:pt x="147117" y="59103"/>
                </a:lnTo>
                <a:lnTo>
                  <a:pt x="138633" y="59103"/>
                </a:lnTo>
                <a:lnTo>
                  <a:pt x="138633" y="50843"/>
                </a:lnTo>
                <a:close/>
                <a:moveTo>
                  <a:pt x="155767" y="50843"/>
                </a:moveTo>
                <a:lnTo>
                  <a:pt x="155767" y="59103"/>
                </a:lnTo>
                <a:lnTo>
                  <a:pt x="147340" y="59103"/>
                </a:lnTo>
                <a:lnTo>
                  <a:pt x="147340" y="50843"/>
                </a:lnTo>
                <a:close/>
                <a:moveTo>
                  <a:pt x="164418" y="50843"/>
                </a:moveTo>
                <a:lnTo>
                  <a:pt x="164418" y="59103"/>
                </a:lnTo>
                <a:lnTo>
                  <a:pt x="155990" y="59103"/>
                </a:lnTo>
                <a:lnTo>
                  <a:pt x="155990" y="50843"/>
                </a:lnTo>
                <a:close/>
                <a:moveTo>
                  <a:pt x="173069" y="50843"/>
                </a:moveTo>
                <a:lnTo>
                  <a:pt x="173069" y="59103"/>
                </a:lnTo>
                <a:lnTo>
                  <a:pt x="164641" y="59103"/>
                </a:lnTo>
                <a:lnTo>
                  <a:pt x="164641" y="50843"/>
                </a:lnTo>
                <a:close/>
                <a:moveTo>
                  <a:pt x="181719" y="50843"/>
                </a:moveTo>
                <a:lnTo>
                  <a:pt x="181719" y="59103"/>
                </a:lnTo>
                <a:lnTo>
                  <a:pt x="173292" y="59103"/>
                </a:lnTo>
                <a:lnTo>
                  <a:pt x="173292" y="50843"/>
                </a:lnTo>
                <a:close/>
                <a:moveTo>
                  <a:pt x="190370" y="50843"/>
                </a:moveTo>
                <a:lnTo>
                  <a:pt x="190370" y="59103"/>
                </a:lnTo>
                <a:lnTo>
                  <a:pt x="181942" y="59103"/>
                </a:lnTo>
                <a:lnTo>
                  <a:pt x="181942" y="50843"/>
                </a:lnTo>
                <a:close/>
                <a:moveTo>
                  <a:pt x="199020" y="50843"/>
                </a:moveTo>
                <a:lnTo>
                  <a:pt x="199020" y="59103"/>
                </a:lnTo>
                <a:lnTo>
                  <a:pt x="190593" y="59103"/>
                </a:lnTo>
                <a:lnTo>
                  <a:pt x="190593" y="50843"/>
                </a:lnTo>
                <a:close/>
                <a:moveTo>
                  <a:pt x="207727" y="50843"/>
                </a:moveTo>
                <a:lnTo>
                  <a:pt x="207727" y="59103"/>
                </a:lnTo>
                <a:lnTo>
                  <a:pt x="199244" y="59103"/>
                </a:lnTo>
                <a:lnTo>
                  <a:pt x="199244" y="50843"/>
                </a:lnTo>
                <a:close/>
                <a:moveTo>
                  <a:pt x="216377" y="50843"/>
                </a:moveTo>
                <a:lnTo>
                  <a:pt x="216377" y="59103"/>
                </a:lnTo>
                <a:lnTo>
                  <a:pt x="207950" y="59103"/>
                </a:lnTo>
                <a:lnTo>
                  <a:pt x="207950" y="50843"/>
                </a:lnTo>
                <a:close/>
                <a:moveTo>
                  <a:pt x="225028" y="50843"/>
                </a:moveTo>
                <a:lnTo>
                  <a:pt x="225028" y="59103"/>
                </a:lnTo>
                <a:lnTo>
                  <a:pt x="216601" y="59103"/>
                </a:lnTo>
                <a:lnTo>
                  <a:pt x="216601" y="50843"/>
                </a:lnTo>
                <a:close/>
                <a:moveTo>
                  <a:pt x="233679" y="50843"/>
                </a:moveTo>
                <a:lnTo>
                  <a:pt x="233679" y="59103"/>
                </a:lnTo>
                <a:lnTo>
                  <a:pt x="225251" y="59103"/>
                </a:lnTo>
                <a:lnTo>
                  <a:pt x="225251" y="50843"/>
                </a:lnTo>
                <a:close/>
                <a:moveTo>
                  <a:pt x="242329" y="50843"/>
                </a:moveTo>
                <a:lnTo>
                  <a:pt x="242329" y="59103"/>
                </a:lnTo>
                <a:lnTo>
                  <a:pt x="233902" y="59103"/>
                </a:lnTo>
                <a:lnTo>
                  <a:pt x="233902" y="50843"/>
                </a:lnTo>
                <a:close/>
                <a:moveTo>
                  <a:pt x="250980" y="50843"/>
                </a:moveTo>
                <a:lnTo>
                  <a:pt x="250980" y="59103"/>
                </a:lnTo>
                <a:lnTo>
                  <a:pt x="242553" y="59103"/>
                </a:lnTo>
                <a:lnTo>
                  <a:pt x="242553" y="50843"/>
                </a:lnTo>
                <a:close/>
                <a:moveTo>
                  <a:pt x="259686" y="50843"/>
                </a:moveTo>
                <a:lnTo>
                  <a:pt x="259686" y="59103"/>
                </a:lnTo>
                <a:lnTo>
                  <a:pt x="251203" y="59103"/>
                </a:lnTo>
                <a:lnTo>
                  <a:pt x="251203" y="50843"/>
                </a:lnTo>
                <a:close/>
                <a:moveTo>
                  <a:pt x="268337" y="50843"/>
                </a:moveTo>
                <a:lnTo>
                  <a:pt x="268337" y="59103"/>
                </a:lnTo>
                <a:lnTo>
                  <a:pt x="259910" y="59103"/>
                </a:lnTo>
                <a:lnTo>
                  <a:pt x="259910" y="50843"/>
                </a:lnTo>
                <a:close/>
                <a:moveTo>
                  <a:pt x="276988" y="50843"/>
                </a:moveTo>
                <a:lnTo>
                  <a:pt x="276988" y="59103"/>
                </a:lnTo>
                <a:lnTo>
                  <a:pt x="268560" y="59103"/>
                </a:lnTo>
                <a:lnTo>
                  <a:pt x="268560" y="50843"/>
                </a:lnTo>
                <a:close/>
                <a:moveTo>
                  <a:pt x="17190" y="59326"/>
                </a:moveTo>
                <a:lnTo>
                  <a:pt x="17190" y="67586"/>
                </a:lnTo>
                <a:lnTo>
                  <a:pt x="8762" y="67586"/>
                </a:lnTo>
                <a:lnTo>
                  <a:pt x="8762" y="59326"/>
                </a:lnTo>
                <a:close/>
                <a:moveTo>
                  <a:pt x="25840" y="59326"/>
                </a:moveTo>
                <a:lnTo>
                  <a:pt x="25840" y="67586"/>
                </a:lnTo>
                <a:lnTo>
                  <a:pt x="17413" y="67586"/>
                </a:lnTo>
                <a:lnTo>
                  <a:pt x="17413" y="59326"/>
                </a:lnTo>
                <a:close/>
                <a:moveTo>
                  <a:pt x="34547" y="59326"/>
                </a:moveTo>
                <a:lnTo>
                  <a:pt x="34547" y="67586"/>
                </a:lnTo>
                <a:lnTo>
                  <a:pt x="26064" y="67586"/>
                </a:lnTo>
                <a:lnTo>
                  <a:pt x="26064" y="59326"/>
                </a:lnTo>
                <a:close/>
                <a:moveTo>
                  <a:pt x="43197" y="59326"/>
                </a:moveTo>
                <a:lnTo>
                  <a:pt x="43197" y="67586"/>
                </a:lnTo>
                <a:lnTo>
                  <a:pt x="34770" y="67586"/>
                </a:lnTo>
                <a:lnTo>
                  <a:pt x="34770" y="59326"/>
                </a:lnTo>
                <a:close/>
                <a:moveTo>
                  <a:pt x="51848" y="59326"/>
                </a:moveTo>
                <a:lnTo>
                  <a:pt x="51848" y="67586"/>
                </a:lnTo>
                <a:lnTo>
                  <a:pt x="43421" y="67586"/>
                </a:lnTo>
                <a:lnTo>
                  <a:pt x="43421" y="59326"/>
                </a:lnTo>
                <a:close/>
                <a:moveTo>
                  <a:pt x="60499" y="59326"/>
                </a:moveTo>
                <a:lnTo>
                  <a:pt x="60499" y="67586"/>
                </a:lnTo>
                <a:lnTo>
                  <a:pt x="52071" y="67586"/>
                </a:lnTo>
                <a:lnTo>
                  <a:pt x="52071" y="59326"/>
                </a:lnTo>
                <a:close/>
                <a:moveTo>
                  <a:pt x="69149" y="59326"/>
                </a:moveTo>
                <a:lnTo>
                  <a:pt x="69149" y="67586"/>
                </a:lnTo>
                <a:lnTo>
                  <a:pt x="60722" y="67586"/>
                </a:lnTo>
                <a:lnTo>
                  <a:pt x="60722" y="59326"/>
                </a:lnTo>
                <a:close/>
                <a:moveTo>
                  <a:pt x="77800" y="59326"/>
                </a:moveTo>
                <a:lnTo>
                  <a:pt x="77800" y="67586"/>
                </a:lnTo>
                <a:lnTo>
                  <a:pt x="69373" y="67586"/>
                </a:lnTo>
                <a:lnTo>
                  <a:pt x="69373" y="59326"/>
                </a:lnTo>
                <a:close/>
                <a:moveTo>
                  <a:pt x="86506" y="59326"/>
                </a:moveTo>
                <a:lnTo>
                  <a:pt x="86506" y="67586"/>
                </a:lnTo>
                <a:lnTo>
                  <a:pt x="78023" y="67586"/>
                </a:lnTo>
                <a:lnTo>
                  <a:pt x="78023" y="59326"/>
                </a:lnTo>
                <a:close/>
                <a:moveTo>
                  <a:pt x="95157" y="59326"/>
                </a:moveTo>
                <a:lnTo>
                  <a:pt x="95157" y="67586"/>
                </a:lnTo>
                <a:lnTo>
                  <a:pt x="86730" y="67586"/>
                </a:lnTo>
                <a:lnTo>
                  <a:pt x="86730" y="59326"/>
                </a:lnTo>
                <a:close/>
                <a:moveTo>
                  <a:pt x="103808" y="59326"/>
                </a:moveTo>
                <a:lnTo>
                  <a:pt x="103808" y="67586"/>
                </a:lnTo>
                <a:lnTo>
                  <a:pt x="95380" y="67586"/>
                </a:lnTo>
                <a:lnTo>
                  <a:pt x="95380" y="59326"/>
                </a:lnTo>
                <a:close/>
                <a:moveTo>
                  <a:pt x="112458" y="59326"/>
                </a:moveTo>
                <a:lnTo>
                  <a:pt x="112458" y="67586"/>
                </a:lnTo>
                <a:lnTo>
                  <a:pt x="104031" y="67586"/>
                </a:lnTo>
                <a:lnTo>
                  <a:pt x="104031" y="59326"/>
                </a:lnTo>
                <a:close/>
                <a:moveTo>
                  <a:pt x="121109" y="59326"/>
                </a:moveTo>
                <a:lnTo>
                  <a:pt x="121109" y="67586"/>
                </a:lnTo>
                <a:lnTo>
                  <a:pt x="112681" y="67586"/>
                </a:lnTo>
                <a:lnTo>
                  <a:pt x="112681" y="59326"/>
                </a:lnTo>
                <a:close/>
                <a:moveTo>
                  <a:pt x="129760" y="59326"/>
                </a:moveTo>
                <a:lnTo>
                  <a:pt x="129760" y="67586"/>
                </a:lnTo>
                <a:lnTo>
                  <a:pt x="121332" y="67586"/>
                </a:lnTo>
                <a:lnTo>
                  <a:pt x="121332" y="59326"/>
                </a:lnTo>
                <a:close/>
                <a:moveTo>
                  <a:pt x="138410" y="59326"/>
                </a:moveTo>
                <a:lnTo>
                  <a:pt x="138410" y="67586"/>
                </a:lnTo>
                <a:lnTo>
                  <a:pt x="129983" y="67586"/>
                </a:lnTo>
                <a:lnTo>
                  <a:pt x="129983" y="59326"/>
                </a:lnTo>
                <a:close/>
                <a:moveTo>
                  <a:pt x="147117" y="59326"/>
                </a:moveTo>
                <a:lnTo>
                  <a:pt x="147117" y="67586"/>
                </a:lnTo>
                <a:lnTo>
                  <a:pt x="138633" y="67586"/>
                </a:lnTo>
                <a:lnTo>
                  <a:pt x="138633" y="59326"/>
                </a:lnTo>
                <a:close/>
                <a:moveTo>
                  <a:pt x="155767" y="59326"/>
                </a:moveTo>
                <a:lnTo>
                  <a:pt x="155767" y="67586"/>
                </a:lnTo>
                <a:lnTo>
                  <a:pt x="147340" y="67586"/>
                </a:lnTo>
                <a:lnTo>
                  <a:pt x="147340" y="59326"/>
                </a:lnTo>
                <a:close/>
                <a:moveTo>
                  <a:pt x="164418" y="59326"/>
                </a:moveTo>
                <a:lnTo>
                  <a:pt x="164418" y="67586"/>
                </a:lnTo>
                <a:lnTo>
                  <a:pt x="155990" y="67586"/>
                </a:lnTo>
                <a:lnTo>
                  <a:pt x="155990" y="59326"/>
                </a:lnTo>
                <a:close/>
                <a:moveTo>
                  <a:pt x="173069" y="59326"/>
                </a:moveTo>
                <a:lnTo>
                  <a:pt x="173069" y="67586"/>
                </a:lnTo>
                <a:lnTo>
                  <a:pt x="164641" y="67586"/>
                </a:lnTo>
                <a:lnTo>
                  <a:pt x="164641" y="59326"/>
                </a:lnTo>
                <a:close/>
                <a:moveTo>
                  <a:pt x="181719" y="59326"/>
                </a:moveTo>
                <a:lnTo>
                  <a:pt x="181719" y="67586"/>
                </a:lnTo>
                <a:lnTo>
                  <a:pt x="173292" y="67586"/>
                </a:lnTo>
                <a:lnTo>
                  <a:pt x="173292" y="59326"/>
                </a:lnTo>
                <a:close/>
                <a:moveTo>
                  <a:pt x="190370" y="59326"/>
                </a:moveTo>
                <a:lnTo>
                  <a:pt x="190370" y="67586"/>
                </a:lnTo>
                <a:lnTo>
                  <a:pt x="181942" y="67586"/>
                </a:lnTo>
                <a:lnTo>
                  <a:pt x="181942" y="59326"/>
                </a:lnTo>
                <a:close/>
                <a:moveTo>
                  <a:pt x="199020" y="59326"/>
                </a:moveTo>
                <a:lnTo>
                  <a:pt x="199020" y="67586"/>
                </a:lnTo>
                <a:lnTo>
                  <a:pt x="190593" y="67586"/>
                </a:lnTo>
                <a:lnTo>
                  <a:pt x="190593" y="59326"/>
                </a:lnTo>
                <a:close/>
                <a:moveTo>
                  <a:pt x="207727" y="59326"/>
                </a:moveTo>
                <a:lnTo>
                  <a:pt x="207727" y="67586"/>
                </a:lnTo>
                <a:lnTo>
                  <a:pt x="199244" y="67586"/>
                </a:lnTo>
                <a:lnTo>
                  <a:pt x="199244" y="59326"/>
                </a:lnTo>
                <a:close/>
                <a:moveTo>
                  <a:pt x="216377" y="59326"/>
                </a:moveTo>
                <a:lnTo>
                  <a:pt x="216377" y="67586"/>
                </a:lnTo>
                <a:lnTo>
                  <a:pt x="207950" y="67586"/>
                </a:lnTo>
                <a:lnTo>
                  <a:pt x="207950" y="59326"/>
                </a:lnTo>
                <a:close/>
                <a:moveTo>
                  <a:pt x="225028" y="59326"/>
                </a:moveTo>
                <a:lnTo>
                  <a:pt x="225028" y="67586"/>
                </a:lnTo>
                <a:lnTo>
                  <a:pt x="216601" y="67586"/>
                </a:lnTo>
                <a:lnTo>
                  <a:pt x="216601" y="59326"/>
                </a:lnTo>
                <a:close/>
                <a:moveTo>
                  <a:pt x="233679" y="59326"/>
                </a:moveTo>
                <a:lnTo>
                  <a:pt x="233679" y="67586"/>
                </a:lnTo>
                <a:lnTo>
                  <a:pt x="225251" y="67586"/>
                </a:lnTo>
                <a:lnTo>
                  <a:pt x="225251" y="59326"/>
                </a:lnTo>
                <a:close/>
                <a:moveTo>
                  <a:pt x="242329" y="59326"/>
                </a:moveTo>
                <a:lnTo>
                  <a:pt x="242329" y="67586"/>
                </a:lnTo>
                <a:lnTo>
                  <a:pt x="233902" y="67586"/>
                </a:lnTo>
                <a:lnTo>
                  <a:pt x="233902" y="59326"/>
                </a:lnTo>
                <a:close/>
                <a:moveTo>
                  <a:pt x="250980" y="59326"/>
                </a:moveTo>
                <a:lnTo>
                  <a:pt x="250980" y="67586"/>
                </a:lnTo>
                <a:lnTo>
                  <a:pt x="242553" y="67586"/>
                </a:lnTo>
                <a:lnTo>
                  <a:pt x="242553" y="59326"/>
                </a:lnTo>
                <a:close/>
                <a:moveTo>
                  <a:pt x="259686" y="59326"/>
                </a:moveTo>
                <a:lnTo>
                  <a:pt x="259686" y="67586"/>
                </a:lnTo>
                <a:lnTo>
                  <a:pt x="251203" y="67586"/>
                </a:lnTo>
                <a:lnTo>
                  <a:pt x="251203" y="59326"/>
                </a:lnTo>
                <a:close/>
                <a:moveTo>
                  <a:pt x="268337" y="59326"/>
                </a:moveTo>
                <a:lnTo>
                  <a:pt x="268337" y="67586"/>
                </a:lnTo>
                <a:lnTo>
                  <a:pt x="259910" y="67586"/>
                </a:lnTo>
                <a:lnTo>
                  <a:pt x="259910" y="59326"/>
                </a:lnTo>
                <a:close/>
                <a:moveTo>
                  <a:pt x="276988" y="59326"/>
                </a:moveTo>
                <a:lnTo>
                  <a:pt x="276988" y="67586"/>
                </a:lnTo>
                <a:lnTo>
                  <a:pt x="268560" y="67586"/>
                </a:lnTo>
                <a:lnTo>
                  <a:pt x="268560" y="59326"/>
                </a:lnTo>
                <a:close/>
                <a:moveTo>
                  <a:pt x="17190" y="67810"/>
                </a:moveTo>
                <a:lnTo>
                  <a:pt x="17190" y="76014"/>
                </a:lnTo>
                <a:lnTo>
                  <a:pt x="8762" y="76014"/>
                </a:lnTo>
                <a:lnTo>
                  <a:pt x="8762" y="67810"/>
                </a:lnTo>
                <a:close/>
                <a:moveTo>
                  <a:pt x="25840" y="67810"/>
                </a:moveTo>
                <a:lnTo>
                  <a:pt x="25840" y="76014"/>
                </a:lnTo>
                <a:lnTo>
                  <a:pt x="17413" y="76014"/>
                </a:lnTo>
                <a:lnTo>
                  <a:pt x="17413" y="67810"/>
                </a:lnTo>
                <a:close/>
                <a:moveTo>
                  <a:pt x="34547" y="67810"/>
                </a:moveTo>
                <a:lnTo>
                  <a:pt x="34547" y="76014"/>
                </a:lnTo>
                <a:lnTo>
                  <a:pt x="26064" y="76014"/>
                </a:lnTo>
                <a:lnTo>
                  <a:pt x="26064" y="67810"/>
                </a:lnTo>
                <a:close/>
                <a:moveTo>
                  <a:pt x="43197" y="67810"/>
                </a:moveTo>
                <a:lnTo>
                  <a:pt x="43197" y="76014"/>
                </a:lnTo>
                <a:lnTo>
                  <a:pt x="34770" y="76014"/>
                </a:lnTo>
                <a:lnTo>
                  <a:pt x="34770" y="67810"/>
                </a:lnTo>
                <a:close/>
                <a:moveTo>
                  <a:pt x="51848" y="67810"/>
                </a:moveTo>
                <a:lnTo>
                  <a:pt x="51848" y="76014"/>
                </a:lnTo>
                <a:lnTo>
                  <a:pt x="43421" y="76014"/>
                </a:lnTo>
                <a:lnTo>
                  <a:pt x="43421" y="67810"/>
                </a:lnTo>
                <a:close/>
                <a:moveTo>
                  <a:pt x="60499" y="67810"/>
                </a:moveTo>
                <a:lnTo>
                  <a:pt x="60499" y="76014"/>
                </a:lnTo>
                <a:lnTo>
                  <a:pt x="52071" y="76014"/>
                </a:lnTo>
                <a:lnTo>
                  <a:pt x="52071" y="67810"/>
                </a:lnTo>
                <a:close/>
                <a:moveTo>
                  <a:pt x="69149" y="67810"/>
                </a:moveTo>
                <a:lnTo>
                  <a:pt x="69149" y="76014"/>
                </a:lnTo>
                <a:lnTo>
                  <a:pt x="60722" y="76014"/>
                </a:lnTo>
                <a:lnTo>
                  <a:pt x="60722" y="67810"/>
                </a:lnTo>
                <a:close/>
                <a:moveTo>
                  <a:pt x="77800" y="67810"/>
                </a:moveTo>
                <a:lnTo>
                  <a:pt x="77800" y="76014"/>
                </a:lnTo>
                <a:lnTo>
                  <a:pt x="69373" y="76014"/>
                </a:lnTo>
                <a:lnTo>
                  <a:pt x="69373" y="67810"/>
                </a:lnTo>
                <a:close/>
                <a:moveTo>
                  <a:pt x="86506" y="67810"/>
                </a:moveTo>
                <a:lnTo>
                  <a:pt x="86506" y="76014"/>
                </a:lnTo>
                <a:lnTo>
                  <a:pt x="78023" y="76014"/>
                </a:lnTo>
                <a:lnTo>
                  <a:pt x="78023" y="67810"/>
                </a:lnTo>
                <a:close/>
                <a:moveTo>
                  <a:pt x="95157" y="67810"/>
                </a:moveTo>
                <a:lnTo>
                  <a:pt x="95157" y="76014"/>
                </a:lnTo>
                <a:lnTo>
                  <a:pt x="86730" y="76014"/>
                </a:lnTo>
                <a:lnTo>
                  <a:pt x="86730" y="67810"/>
                </a:lnTo>
                <a:close/>
                <a:moveTo>
                  <a:pt x="103808" y="67810"/>
                </a:moveTo>
                <a:lnTo>
                  <a:pt x="103808" y="76014"/>
                </a:lnTo>
                <a:lnTo>
                  <a:pt x="95380" y="76014"/>
                </a:lnTo>
                <a:lnTo>
                  <a:pt x="95380" y="67810"/>
                </a:lnTo>
                <a:close/>
                <a:moveTo>
                  <a:pt x="112458" y="67810"/>
                </a:moveTo>
                <a:lnTo>
                  <a:pt x="112458" y="76014"/>
                </a:lnTo>
                <a:lnTo>
                  <a:pt x="104031" y="76014"/>
                </a:lnTo>
                <a:lnTo>
                  <a:pt x="104031" y="67810"/>
                </a:lnTo>
                <a:close/>
                <a:moveTo>
                  <a:pt x="121109" y="67810"/>
                </a:moveTo>
                <a:lnTo>
                  <a:pt x="121109" y="76014"/>
                </a:lnTo>
                <a:lnTo>
                  <a:pt x="112681" y="76014"/>
                </a:lnTo>
                <a:lnTo>
                  <a:pt x="112681" y="67810"/>
                </a:lnTo>
                <a:close/>
                <a:moveTo>
                  <a:pt x="129760" y="67810"/>
                </a:moveTo>
                <a:lnTo>
                  <a:pt x="129760" y="76014"/>
                </a:lnTo>
                <a:lnTo>
                  <a:pt x="121332" y="76014"/>
                </a:lnTo>
                <a:lnTo>
                  <a:pt x="121332" y="67810"/>
                </a:lnTo>
                <a:close/>
                <a:moveTo>
                  <a:pt x="138410" y="67810"/>
                </a:moveTo>
                <a:lnTo>
                  <a:pt x="138410" y="76014"/>
                </a:lnTo>
                <a:lnTo>
                  <a:pt x="129983" y="76014"/>
                </a:lnTo>
                <a:lnTo>
                  <a:pt x="129983" y="67810"/>
                </a:lnTo>
                <a:close/>
                <a:moveTo>
                  <a:pt x="147117" y="67810"/>
                </a:moveTo>
                <a:lnTo>
                  <a:pt x="147117" y="76014"/>
                </a:lnTo>
                <a:lnTo>
                  <a:pt x="138633" y="76014"/>
                </a:lnTo>
                <a:lnTo>
                  <a:pt x="138633" y="67810"/>
                </a:lnTo>
                <a:close/>
                <a:moveTo>
                  <a:pt x="155767" y="67810"/>
                </a:moveTo>
                <a:lnTo>
                  <a:pt x="155767" y="76014"/>
                </a:lnTo>
                <a:lnTo>
                  <a:pt x="147340" y="76014"/>
                </a:lnTo>
                <a:lnTo>
                  <a:pt x="147340" y="67810"/>
                </a:lnTo>
                <a:close/>
                <a:moveTo>
                  <a:pt x="164418" y="67810"/>
                </a:moveTo>
                <a:lnTo>
                  <a:pt x="164418" y="76014"/>
                </a:lnTo>
                <a:lnTo>
                  <a:pt x="155990" y="76014"/>
                </a:lnTo>
                <a:lnTo>
                  <a:pt x="155990" y="67810"/>
                </a:lnTo>
                <a:close/>
                <a:moveTo>
                  <a:pt x="173069" y="67810"/>
                </a:moveTo>
                <a:lnTo>
                  <a:pt x="173069" y="76014"/>
                </a:lnTo>
                <a:lnTo>
                  <a:pt x="164641" y="76014"/>
                </a:lnTo>
                <a:lnTo>
                  <a:pt x="164641" y="67810"/>
                </a:lnTo>
                <a:close/>
                <a:moveTo>
                  <a:pt x="181719" y="67810"/>
                </a:moveTo>
                <a:lnTo>
                  <a:pt x="181719" y="76014"/>
                </a:lnTo>
                <a:lnTo>
                  <a:pt x="173292" y="76014"/>
                </a:lnTo>
                <a:lnTo>
                  <a:pt x="173292" y="67810"/>
                </a:lnTo>
                <a:close/>
                <a:moveTo>
                  <a:pt x="190370" y="67810"/>
                </a:moveTo>
                <a:lnTo>
                  <a:pt x="190370" y="76014"/>
                </a:lnTo>
                <a:lnTo>
                  <a:pt x="181942" y="76014"/>
                </a:lnTo>
                <a:lnTo>
                  <a:pt x="181942" y="67810"/>
                </a:lnTo>
                <a:close/>
                <a:moveTo>
                  <a:pt x="199020" y="67810"/>
                </a:moveTo>
                <a:lnTo>
                  <a:pt x="199020" y="76014"/>
                </a:lnTo>
                <a:lnTo>
                  <a:pt x="190593" y="76014"/>
                </a:lnTo>
                <a:lnTo>
                  <a:pt x="190593" y="67810"/>
                </a:lnTo>
                <a:close/>
                <a:moveTo>
                  <a:pt x="207727" y="67810"/>
                </a:moveTo>
                <a:lnTo>
                  <a:pt x="207727" y="76014"/>
                </a:lnTo>
                <a:lnTo>
                  <a:pt x="199244" y="76014"/>
                </a:lnTo>
                <a:lnTo>
                  <a:pt x="199244" y="67810"/>
                </a:lnTo>
                <a:close/>
                <a:moveTo>
                  <a:pt x="216377" y="67810"/>
                </a:moveTo>
                <a:lnTo>
                  <a:pt x="216377" y="76014"/>
                </a:lnTo>
                <a:lnTo>
                  <a:pt x="207950" y="76014"/>
                </a:lnTo>
                <a:lnTo>
                  <a:pt x="207950" y="67810"/>
                </a:lnTo>
                <a:close/>
                <a:moveTo>
                  <a:pt x="225028" y="67810"/>
                </a:moveTo>
                <a:lnTo>
                  <a:pt x="225028" y="76014"/>
                </a:lnTo>
                <a:lnTo>
                  <a:pt x="216601" y="76014"/>
                </a:lnTo>
                <a:lnTo>
                  <a:pt x="216601" y="67810"/>
                </a:lnTo>
                <a:close/>
                <a:moveTo>
                  <a:pt x="233679" y="67810"/>
                </a:moveTo>
                <a:lnTo>
                  <a:pt x="233679" y="76014"/>
                </a:lnTo>
                <a:lnTo>
                  <a:pt x="225251" y="76014"/>
                </a:lnTo>
                <a:lnTo>
                  <a:pt x="225251" y="67810"/>
                </a:lnTo>
                <a:close/>
                <a:moveTo>
                  <a:pt x="242329" y="67810"/>
                </a:moveTo>
                <a:lnTo>
                  <a:pt x="242329" y="76014"/>
                </a:lnTo>
                <a:lnTo>
                  <a:pt x="233902" y="76014"/>
                </a:lnTo>
                <a:lnTo>
                  <a:pt x="233902" y="67810"/>
                </a:lnTo>
                <a:close/>
                <a:moveTo>
                  <a:pt x="250980" y="67810"/>
                </a:moveTo>
                <a:lnTo>
                  <a:pt x="250980" y="76014"/>
                </a:lnTo>
                <a:lnTo>
                  <a:pt x="242553" y="76014"/>
                </a:lnTo>
                <a:lnTo>
                  <a:pt x="242553" y="67810"/>
                </a:lnTo>
                <a:close/>
                <a:moveTo>
                  <a:pt x="259686" y="67810"/>
                </a:moveTo>
                <a:lnTo>
                  <a:pt x="259686" y="76014"/>
                </a:lnTo>
                <a:lnTo>
                  <a:pt x="251203" y="76014"/>
                </a:lnTo>
                <a:lnTo>
                  <a:pt x="251203" y="67810"/>
                </a:lnTo>
                <a:close/>
                <a:moveTo>
                  <a:pt x="268337" y="67810"/>
                </a:moveTo>
                <a:lnTo>
                  <a:pt x="268337" y="76014"/>
                </a:lnTo>
                <a:lnTo>
                  <a:pt x="259910" y="76014"/>
                </a:lnTo>
                <a:lnTo>
                  <a:pt x="259910" y="67810"/>
                </a:lnTo>
                <a:close/>
                <a:moveTo>
                  <a:pt x="276988" y="67810"/>
                </a:moveTo>
                <a:lnTo>
                  <a:pt x="276988" y="76014"/>
                </a:lnTo>
                <a:lnTo>
                  <a:pt x="268560" y="76014"/>
                </a:lnTo>
                <a:lnTo>
                  <a:pt x="268560" y="67810"/>
                </a:lnTo>
                <a:close/>
                <a:moveTo>
                  <a:pt x="17190" y="76237"/>
                </a:moveTo>
                <a:lnTo>
                  <a:pt x="17190" y="84497"/>
                </a:lnTo>
                <a:lnTo>
                  <a:pt x="8762" y="84497"/>
                </a:lnTo>
                <a:lnTo>
                  <a:pt x="8762" y="76237"/>
                </a:lnTo>
                <a:close/>
                <a:moveTo>
                  <a:pt x="25840" y="76237"/>
                </a:moveTo>
                <a:lnTo>
                  <a:pt x="25840" y="84497"/>
                </a:lnTo>
                <a:lnTo>
                  <a:pt x="17413" y="84497"/>
                </a:lnTo>
                <a:lnTo>
                  <a:pt x="17413" y="76237"/>
                </a:lnTo>
                <a:close/>
                <a:moveTo>
                  <a:pt x="34547" y="76237"/>
                </a:moveTo>
                <a:lnTo>
                  <a:pt x="34547" y="84497"/>
                </a:lnTo>
                <a:lnTo>
                  <a:pt x="26064" y="84497"/>
                </a:lnTo>
                <a:lnTo>
                  <a:pt x="26064" y="76237"/>
                </a:lnTo>
                <a:close/>
                <a:moveTo>
                  <a:pt x="43197" y="76237"/>
                </a:moveTo>
                <a:lnTo>
                  <a:pt x="43197" y="84497"/>
                </a:lnTo>
                <a:lnTo>
                  <a:pt x="34770" y="84497"/>
                </a:lnTo>
                <a:lnTo>
                  <a:pt x="34770" y="76237"/>
                </a:lnTo>
                <a:close/>
                <a:moveTo>
                  <a:pt x="51848" y="76237"/>
                </a:moveTo>
                <a:lnTo>
                  <a:pt x="51848" y="84497"/>
                </a:lnTo>
                <a:lnTo>
                  <a:pt x="43421" y="84497"/>
                </a:lnTo>
                <a:lnTo>
                  <a:pt x="43421" y="76237"/>
                </a:lnTo>
                <a:close/>
                <a:moveTo>
                  <a:pt x="60499" y="76237"/>
                </a:moveTo>
                <a:lnTo>
                  <a:pt x="60499" y="84497"/>
                </a:lnTo>
                <a:lnTo>
                  <a:pt x="52071" y="84497"/>
                </a:lnTo>
                <a:lnTo>
                  <a:pt x="52071" y="76237"/>
                </a:lnTo>
                <a:close/>
                <a:moveTo>
                  <a:pt x="69149" y="76237"/>
                </a:moveTo>
                <a:lnTo>
                  <a:pt x="69149" y="84497"/>
                </a:lnTo>
                <a:lnTo>
                  <a:pt x="60722" y="84497"/>
                </a:lnTo>
                <a:lnTo>
                  <a:pt x="60722" y="76237"/>
                </a:lnTo>
                <a:close/>
                <a:moveTo>
                  <a:pt x="77800" y="76237"/>
                </a:moveTo>
                <a:lnTo>
                  <a:pt x="77800" y="84497"/>
                </a:lnTo>
                <a:lnTo>
                  <a:pt x="69373" y="84497"/>
                </a:lnTo>
                <a:lnTo>
                  <a:pt x="69373" y="76237"/>
                </a:lnTo>
                <a:close/>
                <a:moveTo>
                  <a:pt x="86506" y="76237"/>
                </a:moveTo>
                <a:lnTo>
                  <a:pt x="86506" y="84497"/>
                </a:lnTo>
                <a:lnTo>
                  <a:pt x="78023" y="84497"/>
                </a:lnTo>
                <a:lnTo>
                  <a:pt x="78023" y="76237"/>
                </a:lnTo>
                <a:close/>
                <a:moveTo>
                  <a:pt x="95157" y="76237"/>
                </a:moveTo>
                <a:lnTo>
                  <a:pt x="95157" y="84497"/>
                </a:lnTo>
                <a:lnTo>
                  <a:pt x="86730" y="84497"/>
                </a:lnTo>
                <a:lnTo>
                  <a:pt x="86730" y="76237"/>
                </a:lnTo>
                <a:close/>
                <a:moveTo>
                  <a:pt x="103808" y="76237"/>
                </a:moveTo>
                <a:lnTo>
                  <a:pt x="103808" y="84497"/>
                </a:lnTo>
                <a:lnTo>
                  <a:pt x="95380" y="84497"/>
                </a:lnTo>
                <a:lnTo>
                  <a:pt x="95380" y="76237"/>
                </a:lnTo>
                <a:close/>
                <a:moveTo>
                  <a:pt x="112458" y="76237"/>
                </a:moveTo>
                <a:lnTo>
                  <a:pt x="112458" y="84497"/>
                </a:lnTo>
                <a:lnTo>
                  <a:pt x="104031" y="84497"/>
                </a:lnTo>
                <a:lnTo>
                  <a:pt x="104031" y="76237"/>
                </a:lnTo>
                <a:close/>
                <a:moveTo>
                  <a:pt x="121109" y="76237"/>
                </a:moveTo>
                <a:lnTo>
                  <a:pt x="121109" y="84497"/>
                </a:lnTo>
                <a:lnTo>
                  <a:pt x="112681" y="84497"/>
                </a:lnTo>
                <a:lnTo>
                  <a:pt x="112681" y="76237"/>
                </a:lnTo>
                <a:close/>
                <a:moveTo>
                  <a:pt x="129760" y="76237"/>
                </a:moveTo>
                <a:lnTo>
                  <a:pt x="129760" y="84497"/>
                </a:lnTo>
                <a:lnTo>
                  <a:pt x="121332" y="84497"/>
                </a:lnTo>
                <a:lnTo>
                  <a:pt x="121332" y="76237"/>
                </a:lnTo>
                <a:close/>
                <a:moveTo>
                  <a:pt x="138410" y="76237"/>
                </a:moveTo>
                <a:lnTo>
                  <a:pt x="138410" y="84497"/>
                </a:lnTo>
                <a:lnTo>
                  <a:pt x="129983" y="84497"/>
                </a:lnTo>
                <a:lnTo>
                  <a:pt x="129983" y="76237"/>
                </a:lnTo>
                <a:close/>
                <a:moveTo>
                  <a:pt x="147117" y="76237"/>
                </a:moveTo>
                <a:lnTo>
                  <a:pt x="147117" y="84497"/>
                </a:lnTo>
                <a:lnTo>
                  <a:pt x="138633" y="84497"/>
                </a:lnTo>
                <a:lnTo>
                  <a:pt x="138633" y="76237"/>
                </a:lnTo>
                <a:close/>
                <a:moveTo>
                  <a:pt x="155767" y="76237"/>
                </a:moveTo>
                <a:lnTo>
                  <a:pt x="155767" y="84497"/>
                </a:lnTo>
                <a:lnTo>
                  <a:pt x="147340" y="84497"/>
                </a:lnTo>
                <a:lnTo>
                  <a:pt x="147340" y="76237"/>
                </a:lnTo>
                <a:close/>
                <a:moveTo>
                  <a:pt x="164418" y="76237"/>
                </a:moveTo>
                <a:lnTo>
                  <a:pt x="164418" y="84497"/>
                </a:lnTo>
                <a:lnTo>
                  <a:pt x="155990" y="84497"/>
                </a:lnTo>
                <a:lnTo>
                  <a:pt x="155990" y="76237"/>
                </a:lnTo>
                <a:close/>
                <a:moveTo>
                  <a:pt x="173069" y="76237"/>
                </a:moveTo>
                <a:lnTo>
                  <a:pt x="173069" y="84497"/>
                </a:lnTo>
                <a:lnTo>
                  <a:pt x="164641" y="84497"/>
                </a:lnTo>
                <a:lnTo>
                  <a:pt x="164641" y="76237"/>
                </a:lnTo>
                <a:close/>
                <a:moveTo>
                  <a:pt x="181719" y="76237"/>
                </a:moveTo>
                <a:lnTo>
                  <a:pt x="181719" y="84497"/>
                </a:lnTo>
                <a:lnTo>
                  <a:pt x="173292" y="84497"/>
                </a:lnTo>
                <a:lnTo>
                  <a:pt x="173292" y="76237"/>
                </a:lnTo>
                <a:close/>
                <a:moveTo>
                  <a:pt x="190370" y="76237"/>
                </a:moveTo>
                <a:lnTo>
                  <a:pt x="190370" y="84497"/>
                </a:lnTo>
                <a:lnTo>
                  <a:pt x="181942" y="84497"/>
                </a:lnTo>
                <a:lnTo>
                  <a:pt x="181942" y="76237"/>
                </a:lnTo>
                <a:close/>
                <a:moveTo>
                  <a:pt x="199020" y="76237"/>
                </a:moveTo>
                <a:lnTo>
                  <a:pt x="199020" y="84497"/>
                </a:lnTo>
                <a:lnTo>
                  <a:pt x="190593" y="84497"/>
                </a:lnTo>
                <a:lnTo>
                  <a:pt x="190593" y="76237"/>
                </a:lnTo>
                <a:close/>
                <a:moveTo>
                  <a:pt x="207727" y="76237"/>
                </a:moveTo>
                <a:lnTo>
                  <a:pt x="207727" y="84497"/>
                </a:lnTo>
                <a:lnTo>
                  <a:pt x="199244" y="84497"/>
                </a:lnTo>
                <a:lnTo>
                  <a:pt x="199244" y="76237"/>
                </a:lnTo>
                <a:close/>
                <a:moveTo>
                  <a:pt x="216377" y="76237"/>
                </a:moveTo>
                <a:lnTo>
                  <a:pt x="216377" y="84497"/>
                </a:lnTo>
                <a:lnTo>
                  <a:pt x="207950" y="84497"/>
                </a:lnTo>
                <a:lnTo>
                  <a:pt x="207950" y="76237"/>
                </a:lnTo>
                <a:close/>
                <a:moveTo>
                  <a:pt x="225028" y="76237"/>
                </a:moveTo>
                <a:lnTo>
                  <a:pt x="225028" y="84497"/>
                </a:lnTo>
                <a:lnTo>
                  <a:pt x="216601" y="84497"/>
                </a:lnTo>
                <a:lnTo>
                  <a:pt x="216601" y="76237"/>
                </a:lnTo>
                <a:close/>
                <a:moveTo>
                  <a:pt x="233679" y="76237"/>
                </a:moveTo>
                <a:lnTo>
                  <a:pt x="233679" y="84497"/>
                </a:lnTo>
                <a:lnTo>
                  <a:pt x="225251" y="84497"/>
                </a:lnTo>
                <a:lnTo>
                  <a:pt x="225251" y="76237"/>
                </a:lnTo>
                <a:close/>
                <a:moveTo>
                  <a:pt x="242329" y="76237"/>
                </a:moveTo>
                <a:lnTo>
                  <a:pt x="242329" y="84497"/>
                </a:lnTo>
                <a:lnTo>
                  <a:pt x="233902" y="84497"/>
                </a:lnTo>
                <a:lnTo>
                  <a:pt x="233902" y="76237"/>
                </a:lnTo>
                <a:close/>
                <a:moveTo>
                  <a:pt x="250980" y="76237"/>
                </a:moveTo>
                <a:lnTo>
                  <a:pt x="250980" y="84497"/>
                </a:lnTo>
                <a:lnTo>
                  <a:pt x="242553" y="84497"/>
                </a:lnTo>
                <a:lnTo>
                  <a:pt x="242553" y="76237"/>
                </a:lnTo>
                <a:close/>
                <a:moveTo>
                  <a:pt x="259686" y="76237"/>
                </a:moveTo>
                <a:lnTo>
                  <a:pt x="259686" y="84497"/>
                </a:lnTo>
                <a:lnTo>
                  <a:pt x="251203" y="84497"/>
                </a:lnTo>
                <a:lnTo>
                  <a:pt x="251203" y="76237"/>
                </a:lnTo>
                <a:close/>
                <a:moveTo>
                  <a:pt x="268337" y="76237"/>
                </a:moveTo>
                <a:lnTo>
                  <a:pt x="268337" y="84497"/>
                </a:lnTo>
                <a:lnTo>
                  <a:pt x="259910" y="84497"/>
                </a:lnTo>
                <a:lnTo>
                  <a:pt x="259910" y="76237"/>
                </a:lnTo>
                <a:close/>
                <a:moveTo>
                  <a:pt x="276988" y="76237"/>
                </a:moveTo>
                <a:lnTo>
                  <a:pt x="276988" y="84497"/>
                </a:lnTo>
                <a:lnTo>
                  <a:pt x="268560" y="84497"/>
                </a:lnTo>
                <a:lnTo>
                  <a:pt x="268560" y="76237"/>
                </a:lnTo>
                <a:close/>
                <a:moveTo>
                  <a:pt x="17190" y="84720"/>
                </a:moveTo>
                <a:lnTo>
                  <a:pt x="17190" y="92924"/>
                </a:lnTo>
                <a:lnTo>
                  <a:pt x="8762" y="92924"/>
                </a:lnTo>
                <a:lnTo>
                  <a:pt x="8762" y="84720"/>
                </a:lnTo>
                <a:close/>
                <a:moveTo>
                  <a:pt x="25840" y="84720"/>
                </a:moveTo>
                <a:lnTo>
                  <a:pt x="25840" y="92924"/>
                </a:lnTo>
                <a:lnTo>
                  <a:pt x="17413" y="92924"/>
                </a:lnTo>
                <a:lnTo>
                  <a:pt x="17413" y="84720"/>
                </a:lnTo>
                <a:close/>
                <a:moveTo>
                  <a:pt x="34547" y="84720"/>
                </a:moveTo>
                <a:lnTo>
                  <a:pt x="34547" y="92924"/>
                </a:lnTo>
                <a:lnTo>
                  <a:pt x="26064" y="92924"/>
                </a:lnTo>
                <a:lnTo>
                  <a:pt x="26064" y="84720"/>
                </a:lnTo>
                <a:close/>
                <a:moveTo>
                  <a:pt x="43197" y="84720"/>
                </a:moveTo>
                <a:lnTo>
                  <a:pt x="43197" y="92924"/>
                </a:lnTo>
                <a:lnTo>
                  <a:pt x="34770" y="92924"/>
                </a:lnTo>
                <a:lnTo>
                  <a:pt x="34770" y="84720"/>
                </a:lnTo>
                <a:close/>
                <a:moveTo>
                  <a:pt x="51848" y="84720"/>
                </a:moveTo>
                <a:lnTo>
                  <a:pt x="51848" y="92924"/>
                </a:lnTo>
                <a:lnTo>
                  <a:pt x="43421" y="92924"/>
                </a:lnTo>
                <a:lnTo>
                  <a:pt x="43421" y="84720"/>
                </a:lnTo>
                <a:close/>
                <a:moveTo>
                  <a:pt x="60499" y="84720"/>
                </a:moveTo>
                <a:lnTo>
                  <a:pt x="60499" y="92924"/>
                </a:lnTo>
                <a:lnTo>
                  <a:pt x="52071" y="92924"/>
                </a:lnTo>
                <a:lnTo>
                  <a:pt x="52071" y="84720"/>
                </a:lnTo>
                <a:close/>
                <a:moveTo>
                  <a:pt x="69149" y="84720"/>
                </a:moveTo>
                <a:lnTo>
                  <a:pt x="69149" y="92924"/>
                </a:lnTo>
                <a:lnTo>
                  <a:pt x="60722" y="92924"/>
                </a:lnTo>
                <a:lnTo>
                  <a:pt x="60722" y="84720"/>
                </a:lnTo>
                <a:close/>
                <a:moveTo>
                  <a:pt x="77800" y="84720"/>
                </a:moveTo>
                <a:lnTo>
                  <a:pt x="77800" y="92924"/>
                </a:lnTo>
                <a:lnTo>
                  <a:pt x="69373" y="92924"/>
                </a:lnTo>
                <a:lnTo>
                  <a:pt x="69373" y="84720"/>
                </a:lnTo>
                <a:close/>
                <a:moveTo>
                  <a:pt x="86506" y="84720"/>
                </a:moveTo>
                <a:lnTo>
                  <a:pt x="86506" y="92924"/>
                </a:lnTo>
                <a:lnTo>
                  <a:pt x="78023" y="92924"/>
                </a:lnTo>
                <a:lnTo>
                  <a:pt x="78023" y="84720"/>
                </a:lnTo>
                <a:close/>
                <a:moveTo>
                  <a:pt x="95157" y="84720"/>
                </a:moveTo>
                <a:lnTo>
                  <a:pt x="95157" y="92924"/>
                </a:lnTo>
                <a:lnTo>
                  <a:pt x="86730" y="92924"/>
                </a:lnTo>
                <a:lnTo>
                  <a:pt x="86730" y="84720"/>
                </a:lnTo>
                <a:close/>
                <a:moveTo>
                  <a:pt x="103808" y="84720"/>
                </a:moveTo>
                <a:lnTo>
                  <a:pt x="103808" y="92924"/>
                </a:lnTo>
                <a:lnTo>
                  <a:pt x="95380" y="92924"/>
                </a:lnTo>
                <a:lnTo>
                  <a:pt x="95380" y="84720"/>
                </a:lnTo>
                <a:close/>
                <a:moveTo>
                  <a:pt x="112458" y="84720"/>
                </a:moveTo>
                <a:lnTo>
                  <a:pt x="112458" y="92924"/>
                </a:lnTo>
                <a:lnTo>
                  <a:pt x="104031" y="92924"/>
                </a:lnTo>
                <a:lnTo>
                  <a:pt x="104031" y="84720"/>
                </a:lnTo>
                <a:close/>
                <a:moveTo>
                  <a:pt x="121109" y="84720"/>
                </a:moveTo>
                <a:lnTo>
                  <a:pt x="121109" y="92924"/>
                </a:lnTo>
                <a:lnTo>
                  <a:pt x="112681" y="92924"/>
                </a:lnTo>
                <a:lnTo>
                  <a:pt x="112681" y="84720"/>
                </a:lnTo>
                <a:close/>
                <a:moveTo>
                  <a:pt x="129760" y="84720"/>
                </a:moveTo>
                <a:lnTo>
                  <a:pt x="129760" y="92924"/>
                </a:lnTo>
                <a:lnTo>
                  <a:pt x="121332" y="92924"/>
                </a:lnTo>
                <a:lnTo>
                  <a:pt x="121332" y="84720"/>
                </a:lnTo>
                <a:close/>
                <a:moveTo>
                  <a:pt x="138410" y="84720"/>
                </a:moveTo>
                <a:lnTo>
                  <a:pt x="138410" y="92924"/>
                </a:lnTo>
                <a:lnTo>
                  <a:pt x="129983" y="92924"/>
                </a:lnTo>
                <a:lnTo>
                  <a:pt x="129983" y="84720"/>
                </a:lnTo>
                <a:close/>
                <a:moveTo>
                  <a:pt x="147117" y="84720"/>
                </a:moveTo>
                <a:lnTo>
                  <a:pt x="147117" y="92924"/>
                </a:lnTo>
                <a:lnTo>
                  <a:pt x="138633" y="92924"/>
                </a:lnTo>
                <a:lnTo>
                  <a:pt x="138633" y="84720"/>
                </a:lnTo>
                <a:close/>
                <a:moveTo>
                  <a:pt x="155767" y="84720"/>
                </a:moveTo>
                <a:lnTo>
                  <a:pt x="155767" y="92924"/>
                </a:lnTo>
                <a:lnTo>
                  <a:pt x="147340" y="92924"/>
                </a:lnTo>
                <a:lnTo>
                  <a:pt x="147340" y="84720"/>
                </a:lnTo>
                <a:close/>
                <a:moveTo>
                  <a:pt x="164418" y="84720"/>
                </a:moveTo>
                <a:lnTo>
                  <a:pt x="164418" y="92924"/>
                </a:lnTo>
                <a:lnTo>
                  <a:pt x="155990" y="92924"/>
                </a:lnTo>
                <a:lnTo>
                  <a:pt x="155990" y="84720"/>
                </a:lnTo>
                <a:close/>
                <a:moveTo>
                  <a:pt x="173069" y="84720"/>
                </a:moveTo>
                <a:lnTo>
                  <a:pt x="173069" y="92924"/>
                </a:lnTo>
                <a:lnTo>
                  <a:pt x="164641" y="92924"/>
                </a:lnTo>
                <a:lnTo>
                  <a:pt x="164641" y="84720"/>
                </a:lnTo>
                <a:close/>
                <a:moveTo>
                  <a:pt x="181719" y="84720"/>
                </a:moveTo>
                <a:lnTo>
                  <a:pt x="181719" y="92924"/>
                </a:lnTo>
                <a:lnTo>
                  <a:pt x="173292" y="92924"/>
                </a:lnTo>
                <a:lnTo>
                  <a:pt x="173292" y="84720"/>
                </a:lnTo>
                <a:close/>
                <a:moveTo>
                  <a:pt x="190370" y="84720"/>
                </a:moveTo>
                <a:lnTo>
                  <a:pt x="190370" y="92924"/>
                </a:lnTo>
                <a:lnTo>
                  <a:pt x="181942" y="92924"/>
                </a:lnTo>
                <a:lnTo>
                  <a:pt x="181942" y="84720"/>
                </a:lnTo>
                <a:close/>
                <a:moveTo>
                  <a:pt x="199020" y="84720"/>
                </a:moveTo>
                <a:lnTo>
                  <a:pt x="199020" y="92924"/>
                </a:lnTo>
                <a:lnTo>
                  <a:pt x="190593" y="92924"/>
                </a:lnTo>
                <a:lnTo>
                  <a:pt x="190593" y="84720"/>
                </a:lnTo>
                <a:close/>
                <a:moveTo>
                  <a:pt x="207727" y="84720"/>
                </a:moveTo>
                <a:lnTo>
                  <a:pt x="207727" y="92924"/>
                </a:lnTo>
                <a:lnTo>
                  <a:pt x="199244" y="92924"/>
                </a:lnTo>
                <a:lnTo>
                  <a:pt x="199244" y="84720"/>
                </a:lnTo>
                <a:close/>
                <a:moveTo>
                  <a:pt x="216377" y="84720"/>
                </a:moveTo>
                <a:lnTo>
                  <a:pt x="216377" y="92924"/>
                </a:lnTo>
                <a:lnTo>
                  <a:pt x="207950" y="92924"/>
                </a:lnTo>
                <a:lnTo>
                  <a:pt x="207950" y="84720"/>
                </a:lnTo>
                <a:close/>
                <a:moveTo>
                  <a:pt x="225028" y="84720"/>
                </a:moveTo>
                <a:lnTo>
                  <a:pt x="225028" y="92924"/>
                </a:lnTo>
                <a:lnTo>
                  <a:pt x="216601" y="92924"/>
                </a:lnTo>
                <a:lnTo>
                  <a:pt x="216601" y="84720"/>
                </a:lnTo>
                <a:close/>
                <a:moveTo>
                  <a:pt x="233679" y="84720"/>
                </a:moveTo>
                <a:lnTo>
                  <a:pt x="233679" y="92924"/>
                </a:lnTo>
                <a:lnTo>
                  <a:pt x="225251" y="92924"/>
                </a:lnTo>
                <a:lnTo>
                  <a:pt x="225251" y="84720"/>
                </a:lnTo>
                <a:close/>
                <a:moveTo>
                  <a:pt x="242329" y="84720"/>
                </a:moveTo>
                <a:lnTo>
                  <a:pt x="242329" y="92924"/>
                </a:lnTo>
                <a:lnTo>
                  <a:pt x="233902" y="92924"/>
                </a:lnTo>
                <a:lnTo>
                  <a:pt x="233902" y="84720"/>
                </a:lnTo>
                <a:close/>
                <a:moveTo>
                  <a:pt x="250980" y="84720"/>
                </a:moveTo>
                <a:lnTo>
                  <a:pt x="250980" y="92924"/>
                </a:lnTo>
                <a:lnTo>
                  <a:pt x="242553" y="92924"/>
                </a:lnTo>
                <a:lnTo>
                  <a:pt x="242553" y="84720"/>
                </a:lnTo>
                <a:close/>
                <a:moveTo>
                  <a:pt x="259686" y="84720"/>
                </a:moveTo>
                <a:lnTo>
                  <a:pt x="259686" y="92924"/>
                </a:lnTo>
                <a:lnTo>
                  <a:pt x="251203" y="92924"/>
                </a:lnTo>
                <a:lnTo>
                  <a:pt x="251203" y="84720"/>
                </a:lnTo>
                <a:close/>
                <a:moveTo>
                  <a:pt x="268337" y="84720"/>
                </a:moveTo>
                <a:lnTo>
                  <a:pt x="268337" y="92924"/>
                </a:lnTo>
                <a:lnTo>
                  <a:pt x="259910" y="92924"/>
                </a:lnTo>
                <a:lnTo>
                  <a:pt x="259910" y="84720"/>
                </a:lnTo>
                <a:close/>
                <a:moveTo>
                  <a:pt x="276988" y="84720"/>
                </a:moveTo>
                <a:lnTo>
                  <a:pt x="276988" y="92924"/>
                </a:lnTo>
                <a:lnTo>
                  <a:pt x="268560" y="92924"/>
                </a:lnTo>
                <a:lnTo>
                  <a:pt x="268560" y="84720"/>
                </a:lnTo>
                <a:close/>
                <a:moveTo>
                  <a:pt x="17190" y="93148"/>
                </a:moveTo>
                <a:lnTo>
                  <a:pt x="17190" y="101408"/>
                </a:lnTo>
                <a:lnTo>
                  <a:pt x="8762" y="101408"/>
                </a:lnTo>
                <a:lnTo>
                  <a:pt x="8762" y="93148"/>
                </a:lnTo>
                <a:close/>
                <a:moveTo>
                  <a:pt x="25840" y="93148"/>
                </a:moveTo>
                <a:lnTo>
                  <a:pt x="25840" y="101408"/>
                </a:lnTo>
                <a:lnTo>
                  <a:pt x="17413" y="101408"/>
                </a:lnTo>
                <a:lnTo>
                  <a:pt x="17413" y="93148"/>
                </a:lnTo>
                <a:close/>
                <a:moveTo>
                  <a:pt x="34547" y="93148"/>
                </a:moveTo>
                <a:lnTo>
                  <a:pt x="34547" y="101408"/>
                </a:lnTo>
                <a:lnTo>
                  <a:pt x="26064" y="101408"/>
                </a:lnTo>
                <a:lnTo>
                  <a:pt x="26064" y="93148"/>
                </a:lnTo>
                <a:close/>
                <a:moveTo>
                  <a:pt x="43197" y="93148"/>
                </a:moveTo>
                <a:lnTo>
                  <a:pt x="43197" y="101408"/>
                </a:lnTo>
                <a:lnTo>
                  <a:pt x="34770" y="101408"/>
                </a:lnTo>
                <a:lnTo>
                  <a:pt x="34770" y="93148"/>
                </a:lnTo>
                <a:close/>
                <a:moveTo>
                  <a:pt x="51848" y="93148"/>
                </a:moveTo>
                <a:lnTo>
                  <a:pt x="51848" y="101408"/>
                </a:lnTo>
                <a:lnTo>
                  <a:pt x="43421" y="101408"/>
                </a:lnTo>
                <a:lnTo>
                  <a:pt x="43421" y="93148"/>
                </a:lnTo>
                <a:close/>
                <a:moveTo>
                  <a:pt x="60499" y="93148"/>
                </a:moveTo>
                <a:lnTo>
                  <a:pt x="60499" y="101408"/>
                </a:lnTo>
                <a:lnTo>
                  <a:pt x="52071" y="101408"/>
                </a:lnTo>
                <a:lnTo>
                  <a:pt x="52071" y="93148"/>
                </a:lnTo>
                <a:close/>
                <a:moveTo>
                  <a:pt x="69149" y="93148"/>
                </a:moveTo>
                <a:lnTo>
                  <a:pt x="69149" y="101408"/>
                </a:lnTo>
                <a:lnTo>
                  <a:pt x="60722" y="101408"/>
                </a:lnTo>
                <a:lnTo>
                  <a:pt x="60722" y="93148"/>
                </a:lnTo>
                <a:close/>
                <a:moveTo>
                  <a:pt x="77800" y="93148"/>
                </a:moveTo>
                <a:lnTo>
                  <a:pt x="77800" y="101408"/>
                </a:lnTo>
                <a:lnTo>
                  <a:pt x="69373" y="101408"/>
                </a:lnTo>
                <a:lnTo>
                  <a:pt x="69373" y="93148"/>
                </a:lnTo>
                <a:close/>
                <a:moveTo>
                  <a:pt x="86506" y="93148"/>
                </a:moveTo>
                <a:lnTo>
                  <a:pt x="86506" y="101408"/>
                </a:lnTo>
                <a:lnTo>
                  <a:pt x="78023" y="101408"/>
                </a:lnTo>
                <a:lnTo>
                  <a:pt x="78023" y="93148"/>
                </a:lnTo>
                <a:close/>
                <a:moveTo>
                  <a:pt x="95157" y="93148"/>
                </a:moveTo>
                <a:lnTo>
                  <a:pt x="95157" y="101408"/>
                </a:lnTo>
                <a:lnTo>
                  <a:pt x="86730" y="101408"/>
                </a:lnTo>
                <a:lnTo>
                  <a:pt x="86730" y="93148"/>
                </a:lnTo>
                <a:close/>
                <a:moveTo>
                  <a:pt x="103808" y="93148"/>
                </a:moveTo>
                <a:lnTo>
                  <a:pt x="103808" y="101408"/>
                </a:lnTo>
                <a:lnTo>
                  <a:pt x="95380" y="101408"/>
                </a:lnTo>
                <a:lnTo>
                  <a:pt x="95380" y="93148"/>
                </a:lnTo>
                <a:close/>
                <a:moveTo>
                  <a:pt x="112458" y="93148"/>
                </a:moveTo>
                <a:lnTo>
                  <a:pt x="112458" y="101408"/>
                </a:lnTo>
                <a:lnTo>
                  <a:pt x="104031" y="101408"/>
                </a:lnTo>
                <a:lnTo>
                  <a:pt x="104031" y="93148"/>
                </a:lnTo>
                <a:close/>
                <a:moveTo>
                  <a:pt x="121109" y="93148"/>
                </a:moveTo>
                <a:lnTo>
                  <a:pt x="121109" y="101408"/>
                </a:lnTo>
                <a:lnTo>
                  <a:pt x="112681" y="101408"/>
                </a:lnTo>
                <a:lnTo>
                  <a:pt x="112681" y="93148"/>
                </a:lnTo>
                <a:close/>
                <a:moveTo>
                  <a:pt x="129760" y="93148"/>
                </a:moveTo>
                <a:lnTo>
                  <a:pt x="129760" y="101408"/>
                </a:lnTo>
                <a:lnTo>
                  <a:pt x="121332" y="101408"/>
                </a:lnTo>
                <a:lnTo>
                  <a:pt x="121332" y="93148"/>
                </a:lnTo>
                <a:close/>
                <a:moveTo>
                  <a:pt x="138410" y="93148"/>
                </a:moveTo>
                <a:lnTo>
                  <a:pt x="138410" y="101408"/>
                </a:lnTo>
                <a:lnTo>
                  <a:pt x="129983" y="101408"/>
                </a:lnTo>
                <a:lnTo>
                  <a:pt x="129983" y="93148"/>
                </a:lnTo>
                <a:close/>
                <a:moveTo>
                  <a:pt x="147117" y="93148"/>
                </a:moveTo>
                <a:lnTo>
                  <a:pt x="147117" y="101408"/>
                </a:lnTo>
                <a:lnTo>
                  <a:pt x="138633" y="101408"/>
                </a:lnTo>
                <a:lnTo>
                  <a:pt x="138633" y="93148"/>
                </a:lnTo>
                <a:close/>
                <a:moveTo>
                  <a:pt x="155767" y="93148"/>
                </a:moveTo>
                <a:lnTo>
                  <a:pt x="155767" y="101408"/>
                </a:lnTo>
                <a:lnTo>
                  <a:pt x="147340" y="101408"/>
                </a:lnTo>
                <a:lnTo>
                  <a:pt x="147340" y="93148"/>
                </a:lnTo>
                <a:close/>
                <a:moveTo>
                  <a:pt x="164418" y="93148"/>
                </a:moveTo>
                <a:lnTo>
                  <a:pt x="164418" y="101408"/>
                </a:lnTo>
                <a:lnTo>
                  <a:pt x="155990" y="101408"/>
                </a:lnTo>
                <a:lnTo>
                  <a:pt x="155990" y="93148"/>
                </a:lnTo>
                <a:close/>
                <a:moveTo>
                  <a:pt x="173069" y="93148"/>
                </a:moveTo>
                <a:lnTo>
                  <a:pt x="173069" y="101408"/>
                </a:lnTo>
                <a:lnTo>
                  <a:pt x="164641" y="101408"/>
                </a:lnTo>
                <a:lnTo>
                  <a:pt x="164641" y="93148"/>
                </a:lnTo>
                <a:close/>
                <a:moveTo>
                  <a:pt x="181719" y="93148"/>
                </a:moveTo>
                <a:lnTo>
                  <a:pt x="181719" y="101408"/>
                </a:lnTo>
                <a:lnTo>
                  <a:pt x="173292" y="101408"/>
                </a:lnTo>
                <a:lnTo>
                  <a:pt x="173292" y="93148"/>
                </a:lnTo>
                <a:close/>
                <a:moveTo>
                  <a:pt x="190370" y="93148"/>
                </a:moveTo>
                <a:lnTo>
                  <a:pt x="190370" y="101408"/>
                </a:lnTo>
                <a:lnTo>
                  <a:pt x="181942" y="101408"/>
                </a:lnTo>
                <a:lnTo>
                  <a:pt x="181942" y="93148"/>
                </a:lnTo>
                <a:close/>
                <a:moveTo>
                  <a:pt x="199020" y="93148"/>
                </a:moveTo>
                <a:lnTo>
                  <a:pt x="199020" y="101408"/>
                </a:lnTo>
                <a:lnTo>
                  <a:pt x="190593" y="101408"/>
                </a:lnTo>
                <a:lnTo>
                  <a:pt x="190593" y="93148"/>
                </a:lnTo>
                <a:close/>
                <a:moveTo>
                  <a:pt x="207727" y="93148"/>
                </a:moveTo>
                <a:lnTo>
                  <a:pt x="207727" y="101408"/>
                </a:lnTo>
                <a:lnTo>
                  <a:pt x="199244" y="101408"/>
                </a:lnTo>
                <a:lnTo>
                  <a:pt x="199244" y="93148"/>
                </a:lnTo>
                <a:close/>
                <a:moveTo>
                  <a:pt x="216377" y="93148"/>
                </a:moveTo>
                <a:lnTo>
                  <a:pt x="216377" y="101408"/>
                </a:lnTo>
                <a:lnTo>
                  <a:pt x="207950" y="101408"/>
                </a:lnTo>
                <a:lnTo>
                  <a:pt x="207950" y="93148"/>
                </a:lnTo>
                <a:close/>
                <a:moveTo>
                  <a:pt x="225028" y="93148"/>
                </a:moveTo>
                <a:lnTo>
                  <a:pt x="225028" y="101408"/>
                </a:lnTo>
                <a:lnTo>
                  <a:pt x="216601" y="101408"/>
                </a:lnTo>
                <a:lnTo>
                  <a:pt x="216601" y="93148"/>
                </a:lnTo>
                <a:close/>
                <a:moveTo>
                  <a:pt x="233679" y="93148"/>
                </a:moveTo>
                <a:lnTo>
                  <a:pt x="233679" y="101408"/>
                </a:lnTo>
                <a:lnTo>
                  <a:pt x="225251" y="101408"/>
                </a:lnTo>
                <a:lnTo>
                  <a:pt x="225251" y="93148"/>
                </a:lnTo>
                <a:close/>
                <a:moveTo>
                  <a:pt x="242329" y="93148"/>
                </a:moveTo>
                <a:lnTo>
                  <a:pt x="242329" y="101408"/>
                </a:lnTo>
                <a:lnTo>
                  <a:pt x="233902" y="101408"/>
                </a:lnTo>
                <a:lnTo>
                  <a:pt x="233902" y="93148"/>
                </a:lnTo>
                <a:close/>
                <a:moveTo>
                  <a:pt x="250980" y="93148"/>
                </a:moveTo>
                <a:lnTo>
                  <a:pt x="250980" y="101408"/>
                </a:lnTo>
                <a:lnTo>
                  <a:pt x="242553" y="101408"/>
                </a:lnTo>
                <a:lnTo>
                  <a:pt x="242553" y="93148"/>
                </a:lnTo>
                <a:close/>
                <a:moveTo>
                  <a:pt x="259686" y="93148"/>
                </a:moveTo>
                <a:lnTo>
                  <a:pt x="259686" y="101408"/>
                </a:lnTo>
                <a:lnTo>
                  <a:pt x="251203" y="101408"/>
                </a:lnTo>
                <a:lnTo>
                  <a:pt x="251203" y="93148"/>
                </a:lnTo>
                <a:close/>
                <a:moveTo>
                  <a:pt x="268337" y="93148"/>
                </a:moveTo>
                <a:lnTo>
                  <a:pt x="268337" y="101408"/>
                </a:lnTo>
                <a:lnTo>
                  <a:pt x="259910" y="101408"/>
                </a:lnTo>
                <a:lnTo>
                  <a:pt x="259910" y="93148"/>
                </a:lnTo>
                <a:close/>
                <a:moveTo>
                  <a:pt x="276988" y="93148"/>
                </a:moveTo>
                <a:lnTo>
                  <a:pt x="276988" y="101408"/>
                </a:lnTo>
                <a:lnTo>
                  <a:pt x="268560" y="101408"/>
                </a:lnTo>
                <a:lnTo>
                  <a:pt x="268560" y="93148"/>
                </a:lnTo>
                <a:close/>
                <a:moveTo>
                  <a:pt x="17190" y="101631"/>
                </a:moveTo>
                <a:lnTo>
                  <a:pt x="17190" y="109891"/>
                </a:lnTo>
                <a:lnTo>
                  <a:pt x="8762" y="109891"/>
                </a:lnTo>
                <a:lnTo>
                  <a:pt x="8762" y="101631"/>
                </a:lnTo>
                <a:close/>
                <a:moveTo>
                  <a:pt x="25840" y="101631"/>
                </a:moveTo>
                <a:lnTo>
                  <a:pt x="25840" y="109891"/>
                </a:lnTo>
                <a:lnTo>
                  <a:pt x="17413" y="109891"/>
                </a:lnTo>
                <a:lnTo>
                  <a:pt x="17413" y="101631"/>
                </a:lnTo>
                <a:close/>
                <a:moveTo>
                  <a:pt x="34547" y="101631"/>
                </a:moveTo>
                <a:lnTo>
                  <a:pt x="34547" y="109891"/>
                </a:lnTo>
                <a:lnTo>
                  <a:pt x="26064" y="109891"/>
                </a:lnTo>
                <a:lnTo>
                  <a:pt x="26064" y="101631"/>
                </a:lnTo>
                <a:close/>
                <a:moveTo>
                  <a:pt x="43197" y="101631"/>
                </a:moveTo>
                <a:lnTo>
                  <a:pt x="43197" y="109891"/>
                </a:lnTo>
                <a:lnTo>
                  <a:pt x="34770" y="109891"/>
                </a:lnTo>
                <a:lnTo>
                  <a:pt x="34770" y="101631"/>
                </a:lnTo>
                <a:close/>
                <a:moveTo>
                  <a:pt x="51848" y="101631"/>
                </a:moveTo>
                <a:lnTo>
                  <a:pt x="51848" y="109891"/>
                </a:lnTo>
                <a:lnTo>
                  <a:pt x="43421" y="109891"/>
                </a:lnTo>
                <a:lnTo>
                  <a:pt x="43421" y="101631"/>
                </a:lnTo>
                <a:close/>
                <a:moveTo>
                  <a:pt x="60499" y="101631"/>
                </a:moveTo>
                <a:lnTo>
                  <a:pt x="60499" y="109891"/>
                </a:lnTo>
                <a:lnTo>
                  <a:pt x="52071" y="109891"/>
                </a:lnTo>
                <a:lnTo>
                  <a:pt x="52071" y="101631"/>
                </a:lnTo>
                <a:close/>
                <a:moveTo>
                  <a:pt x="69149" y="101631"/>
                </a:moveTo>
                <a:lnTo>
                  <a:pt x="69149" y="109891"/>
                </a:lnTo>
                <a:lnTo>
                  <a:pt x="60722" y="109891"/>
                </a:lnTo>
                <a:lnTo>
                  <a:pt x="60722" y="101631"/>
                </a:lnTo>
                <a:close/>
                <a:moveTo>
                  <a:pt x="77800" y="101631"/>
                </a:moveTo>
                <a:lnTo>
                  <a:pt x="77800" y="109891"/>
                </a:lnTo>
                <a:lnTo>
                  <a:pt x="69373" y="109891"/>
                </a:lnTo>
                <a:lnTo>
                  <a:pt x="69373" y="101631"/>
                </a:lnTo>
                <a:close/>
                <a:moveTo>
                  <a:pt x="86506" y="101631"/>
                </a:moveTo>
                <a:lnTo>
                  <a:pt x="86506" y="109891"/>
                </a:lnTo>
                <a:lnTo>
                  <a:pt x="78023" y="109891"/>
                </a:lnTo>
                <a:lnTo>
                  <a:pt x="78023" y="101631"/>
                </a:lnTo>
                <a:close/>
                <a:moveTo>
                  <a:pt x="95157" y="101631"/>
                </a:moveTo>
                <a:lnTo>
                  <a:pt x="95157" y="109891"/>
                </a:lnTo>
                <a:lnTo>
                  <a:pt x="86730" y="109891"/>
                </a:lnTo>
                <a:lnTo>
                  <a:pt x="86730" y="101631"/>
                </a:lnTo>
                <a:close/>
                <a:moveTo>
                  <a:pt x="103808" y="101631"/>
                </a:moveTo>
                <a:lnTo>
                  <a:pt x="103808" y="109891"/>
                </a:lnTo>
                <a:lnTo>
                  <a:pt x="95380" y="109891"/>
                </a:lnTo>
                <a:lnTo>
                  <a:pt x="95380" y="101631"/>
                </a:lnTo>
                <a:close/>
                <a:moveTo>
                  <a:pt x="112458" y="101631"/>
                </a:moveTo>
                <a:lnTo>
                  <a:pt x="112458" y="109891"/>
                </a:lnTo>
                <a:lnTo>
                  <a:pt x="104031" y="109891"/>
                </a:lnTo>
                <a:lnTo>
                  <a:pt x="104031" y="101631"/>
                </a:lnTo>
                <a:close/>
                <a:moveTo>
                  <a:pt x="121109" y="101631"/>
                </a:moveTo>
                <a:lnTo>
                  <a:pt x="121109" y="109891"/>
                </a:lnTo>
                <a:lnTo>
                  <a:pt x="112681" y="109891"/>
                </a:lnTo>
                <a:lnTo>
                  <a:pt x="112681" y="101631"/>
                </a:lnTo>
                <a:close/>
                <a:moveTo>
                  <a:pt x="129760" y="101631"/>
                </a:moveTo>
                <a:lnTo>
                  <a:pt x="129760" y="109891"/>
                </a:lnTo>
                <a:lnTo>
                  <a:pt x="121332" y="109891"/>
                </a:lnTo>
                <a:lnTo>
                  <a:pt x="121332" y="101631"/>
                </a:lnTo>
                <a:close/>
                <a:moveTo>
                  <a:pt x="138410" y="101631"/>
                </a:moveTo>
                <a:lnTo>
                  <a:pt x="138410" y="109891"/>
                </a:lnTo>
                <a:lnTo>
                  <a:pt x="129983" y="109891"/>
                </a:lnTo>
                <a:lnTo>
                  <a:pt x="129983" y="101631"/>
                </a:lnTo>
                <a:close/>
                <a:moveTo>
                  <a:pt x="147117" y="101631"/>
                </a:moveTo>
                <a:lnTo>
                  <a:pt x="147117" y="109891"/>
                </a:lnTo>
                <a:lnTo>
                  <a:pt x="138633" y="109891"/>
                </a:lnTo>
                <a:lnTo>
                  <a:pt x="138633" y="101631"/>
                </a:lnTo>
                <a:close/>
                <a:moveTo>
                  <a:pt x="155767" y="101631"/>
                </a:moveTo>
                <a:lnTo>
                  <a:pt x="155767" y="109891"/>
                </a:lnTo>
                <a:lnTo>
                  <a:pt x="147340" y="109891"/>
                </a:lnTo>
                <a:lnTo>
                  <a:pt x="147340" y="101631"/>
                </a:lnTo>
                <a:close/>
                <a:moveTo>
                  <a:pt x="164418" y="101631"/>
                </a:moveTo>
                <a:lnTo>
                  <a:pt x="164418" y="109891"/>
                </a:lnTo>
                <a:lnTo>
                  <a:pt x="155990" y="109891"/>
                </a:lnTo>
                <a:lnTo>
                  <a:pt x="155990" y="101631"/>
                </a:lnTo>
                <a:close/>
                <a:moveTo>
                  <a:pt x="173069" y="101631"/>
                </a:moveTo>
                <a:lnTo>
                  <a:pt x="173069" y="109891"/>
                </a:lnTo>
                <a:lnTo>
                  <a:pt x="164641" y="109891"/>
                </a:lnTo>
                <a:lnTo>
                  <a:pt x="164641" y="101631"/>
                </a:lnTo>
                <a:close/>
                <a:moveTo>
                  <a:pt x="181719" y="101631"/>
                </a:moveTo>
                <a:lnTo>
                  <a:pt x="181719" y="109891"/>
                </a:lnTo>
                <a:lnTo>
                  <a:pt x="173292" y="109891"/>
                </a:lnTo>
                <a:lnTo>
                  <a:pt x="173292" y="101631"/>
                </a:lnTo>
                <a:close/>
                <a:moveTo>
                  <a:pt x="190370" y="101631"/>
                </a:moveTo>
                <a:lnTo>
                  <a:pt x="190370" y="109891"/>
                </a:lnTo>
                <a:lnTo>
                  <a:pt x="181942" y="109891"/>
                </a:lnTo>
                <a:lnTo>
                  <a:pt x="181942" y="101631"/>
                </a:lnTo>
                <a:close/>
                <a:moveTo>
                  <a:pt x="199020" y="101631"/>
                </a:moveTo>
                <a:lnTo>
                  <a:pt x="199020" y="109891"/>
                </a:lnTo>
                <a:lnTo>
                  <a:pt x="190593" y="109891"/>
                </a:lnTo>
                <a:lnTo>
                  <a:pt x="190593" y="101631"/>
                </a:lnTo>
                <a:close/>
                <a:moveTo>
                  <a:pt x="207727" y="101631"/>
                </a:moveTo>
                <a:lnTo>
                  <a:pt x="207727" y="109891"/>
                </a:lnTo>
                <a:lnTo>
                  <a:pt x="199244" y="109891"/>
                </a:lnTo>
                <a:lnTo>
                  <a:pt x="199244" y="101631"/>
                </a:lnTo>
                <a:close/>
                <a:moveTo>
                  <a:pt x="216377" y="101631"/>
                </a:moveTo>
                <a:lnTo>
                  <a:pt x="216377" y="109891"/>
                </a:lnTo>
                <a:lnTo>
                  <a:pt x="207950" y="109891"/>
                </a:lnTo>
                <a:lnTo>
                  <a:pt x="207950" y="101631"/>
                </a:lnTo>
                <a:close/>
                <a:moveTo>
                  <a:pt x="225028" y="101631"/>
                </a:moveTo>
                <a:lnTo>
                  <a:pt x="225028" y="109891"/>
                </a:lnTo>
                <a:lnTo>
                  <a:pt x="216601" y="109891"/>
                </a:lnTo>
                <a:lnTo>
                  <a:pt x="216601" y="101631"/>
                </a:lnTo>
                <a:close/>
                <a:moveTo>
                  <a:pt x="233679" y="101631"/>
                </a:moveTo>
                <a:lnTo>
                  <a:pt x="233679" y="109891"/>
                </a:lnTo>
                <a:lnTo>
                  <a:pt x="225251" y="109891"/>
                </a:lnTo>
                <a:lnTo>
                  <a:pt x="225251" y="101631"/>
                </a:lnTo>
                <a:close/>
                <a:moveTo>
                  <a:pt x="242329" y="101631"/>
                </a:moveTo>
                <a:lnTo>
                  <a:pt x="242329" y="109891"/>
                </a:lnTo>
                <a:lnTo>
                  <a:pt x="233902" y="109891"/>
                </a:lnTo>
                <a:lnTo>
                  <a:pt x="233902" y="101631"/>
                </a:lnTo>
                <a:close/>
                <a:moveTo>
                  <a:pt x="250980" y="101631"/>
                </a:moveTo>
                <a:lnTo>
                  <a:pt x="250980" y="109891"/>
                </a:lnTo>
                <a:lnTo>
                  <a:pt x="242553" y="109891"/>
                </a:lnTo>
                <a:lnTo>
                  <a:pt x="242553" y="101631"/>
                </a:lnTo>
                <a:close/>
                <a:moveTo>
                  <a:pt x="259686" y="101631"/>
                </a:moveTo>
                <a:lnTo>
                  <a:pt x="259686" y="109891"/>
                </a:lnTo>
                <a:lnTo>
                  <a:pt x="251203" y="109891"/>
                </a:lnTo>
                <a:lnTo>
                  <a:pt x="251203" y="101631"/>
                </a:lnTo>
                <a:close/>
                <a:moveTo>
                  <a:pt x="268337" y="101631"/>
                </a:moveTo>
                <a:lnTo>
                  <a:pt x="268337" y="109891"/>
                </a:lnTo>
                <a:lnTo>
                  <a:pt x="259910" y="109891"/>
                </a:lnTo>
                <a:lnTo>
                  <a:pt x="259910" y="101631"/>
                </a:lnTo>
                <a:close/>
                <a:moveTo>
                  <a:pt x="276988" y="101631"/>
                </a:moveTo>
                <a:lnTo>
                  <a:pt x="276988" y="109891"/>
                </a:lnTo>
                <a:lnTo>
                  <a:pt x="268560" y="109891"/>
                </a:lnTo>
                <a:lnTo>
                  <a:pt x="268560" y="101631"/>
                </a:lnTo>
                <a:close/>
                <a:moveTo>
                  <a:pt x="17190" y="110114"/>
                </a:moveTo>
                <a:lnTo>
                  <a:pt x="17190" y="118318"/>
                </a:lnTo>
                <a:lnTo>
                  <a:pt x="8762" y="118318"/>
                </a:lnTo>
                <a:lnTo>
                  <a:pt x="8762" y="110114"/>
                </a:lnTo>
                <a:close/>
                <a:moveTo>
                  <a:pt x="25840" y="110114"/>
                </a:moveTo>
                <a:lnTo>
                  <a:pt x="25840" y="118318"/>
                </a:lnTo>
                <a:lnTo>
                  <a:pt x="17413" y="118318"/>
                </a:lnTo>
                <a:lnTo>
                  <a:pt x="17413" y="110114"/>
                </a:lnTo>
                <a:close/>
                <a:moveTo>
                  <a:pt x="34547" y="110114"/>
                </a:moveTo>
                <a:lnTo>
                  <a:pt x="34547" y="118318"/>
                </a:lnTo>
                <a:lnTo>
                  <a:pt x="26064" y="118318"/>
                </a:lnTo>
                <a:lnTo>
                  <a:pt x="26064" y="110114"/>
                </a:lnTo>
                <a:close/>
                <a:moveTo>
                  <a:pt x="43197" y="110114"/>
                </a:moveTo>
                <a:lnTo>
                  <a:pt x="43197" y="118318"/>
                </a:lnTo>
                <a:lnTo>
                  <a:pt x="34770" y="118318"/>
                </a:lnTo>
                <a:lnTo>
                  <a:pt x="34770" y="110114"/>
                </a:lnTo>
                <a:close/>
                <a:moveTo>
                  <a:pt x="51848" y="110114"/>
                </a:moveTo>
                <a:lnTo>
                  <a:pt x="51848" y="118318"/>
                </a:lnTo>
                <a:lnTo>
                  <a:pt x="43421" y="118318"/>
                </a:lnTo>
                <a:lnTo>
                  <a:pt x="43421" y="110114"/>
                </a:lnTo>
                <a:close/>
                <a:moveTo>
                  <a:pt x="60499" y="110114"/>
                </a:moveTo>
                <a:lnTo>
                  <a:pt x="60499" y="118318"/>
                </a:lnTo>
                <a:lnTo>
                  <a:pt x="52071" y="118318"/>
                </a:lnTo>
                <a:lnTo>
                  <a:pt x="52071" y="110114"/>
                </a:lnTo>
                <a:close/>
                <a:moveTo>
                  <a:pt x="69149" y="110114"/>
                </a:moveTo>
                <a:lnTo>
                  <a:pt x="69149" y="118318"/>
                </a:lnTo>
                <a:lnTo>
                  <a:pt x="60722" y="118318"/>
                </a:lnTo>
                <a:lnTo>
                  <a:pt x="60722" y="110114"/>
                </a:lnTo>
                <a:close/>
                <a:moveTo>
                  <a:pt x="77800" y="110114"/>
                </a:moveTo>
                <a:lnTo>
                  <a:pt x="77800" y="118318"/>
                </a:lnTo>
                <a:lnTo>
                  <a:pt x="69373" y="118318"/>
                </a:lnTo>
                <a:lnTo>
                  <a:pt x="69373" y="110114"/>
                </a:lnTo>
                <a:close/>
                <a:moveTo>
                  <a:pt x="86506" y="110114"/>
                </a:moveTo>
                <a:lnTo>
                  <a:pt x="86506" y="118318"/>
                </a:lnTo>
                <a:lnTo>
                  <a:pt x="78023" y="118318"/>
                </a:lnTo>
                <a:lnTo>
                  <a:pt x="78023" y="110114"/>
                </a:lnTo>
                <a:close/>
                <a:moveTo>
                  <a:pt x="95157" y="110114"/>
                </a:moveTo>
                <a:lnTo>
                  <a:pt x="95157" y="118318"/>
                </a:lnTo>
                <a:lnTo>
                  <a:pt x="86730" y="118318"/>
                </a:lnTo>
                <a:lnTo>
                  <a:pt x="86730" y="110114"/>
                </a:lnTo>
                <a:close/>
                <a:moveTo>
                  <a:pt x="103808" y="110114"/>
                </a:moveTo>
                <a:lnTo>
                  <a:pt x="103808" y="118318"/>
                </a:lnTo>
                <a:lnTo>
                  <a:pt x="95380" y="118318"/>
                </a:lnTo>
                <a:lnTo>
                  <a:pt x="95380" y="110114"/>
                </a:lnTo>
                <a:close/>
                <a:moveTo>
                  <a:pt x="112458" y="110114"/>
                </a:moveTo>
                <a:lnTo>
                  <a:pt x="112458" y="118318"/>
                </a:lnTo>
                <a:lnTo>
                  <a:pt x="104031" y="118318"/>
                </a:lnTo>
                <a:lnTo>
                  <a:pt x="104031" y="110114"/>
                </a:lnTo>
                <a:close/>
                <a:moveTo>
                  <a:pt x="121109" y="110114"/>
                </a:moveTo>
                <a:lnTo>
                  <a:pt x="121109" y="118318"/>
                </a:lnTo>
                <a:lnTo>
                  <a:pt x="112681" y="118318"/>
                </a:lnTo>
                <a:lnTo>
                  <a:pt x="112681" y="110114"/>
                </a:lnTo>
                <a:close/>
                <a:moveTo>
                  <a:pt x="129760" y="110114"/>
                </a:moveTo>
                <a:lnTo>
                  <a:pt x="129760" y="118318"/>
                </a:lnTo>
                <a:lnTo>
                  <a:pt x="121332" y="118318"/>
                </a:lnTo>
                <a:lnTo>
                  <a:pt x="121332" y="110114"/>
                </a:lnTo>
                <a:close/>
                <a:moveTo>
                  <a:pt x="138410" y="110114"/>
                </a:moveTo>
                <a:lnTo>
                  <a:pt x="138410" y="118318"/>
                </a:lnTo>
                <a:lnTo>
                  <a:pt x="129983" y="118318"/>
                </a:lnTo>
                <a:lnTo>
                  <a:pt x="129983" y="110114"/>
                </a:lnTo>
                <a:close/>
                <a:moveTo>
                  <a:pt x="147117" y="110114"/>
                </a:moveTo>
                <a:lnTo>
                  <a:pt x="147117" y="118318"/>
                </a:lnTo>
                <a:lnTo>
                  <a:pt x="138633" y="118318"/>
                </a:lnTo>
                <a:lnTo>
                  <a:pt x="138633" y="110114"/>
                </a:lnTo>
                <a:close/>
                <a:moveTo>
                  <a:pt x="155767" y="110114"/>
                </a:moveTo>
                <a:lnTo>
                  <a:pt x="155767" y="118318"/>
                </a:lnTo>
                <a:lnTo>
                  <a:pt x="147340" y="118318"/>
                </a:lnTo>
                <a:lnTo>
                  <a:pt x="147340" y="110114"/>
                </a:lnTo>
                <a:close/>
                <a:moveTo>
                  <a:pt x="164418" y="110114"/>
                </a:moveTo>
                <a:lnTo>
                  <a:pt x="164418" y="118318"/>
                </a:lnTo>
                <a:lnTo>
                  <a:pt x="155990" y="118318"/>
                </a:lnTo>
                <a:lnTo>
                  <a:pt x="155990" y="110114"/>
                </a:lnTo>
                <a:close/>
                <a:moveTo>
                  <a:pt x="173069" y="110114"/>
                </a:moveTo>
                <a:lnTo>
                  <a:pt x="173069" y="118318"/>
                </a:lnTo>
                <a:lnTo>
                  <a:pt x="164641" y="118318"/>
                </a:lnTo>
                <a:lnTo>
                  <a:pt x="164641" y="110114"/>
                </a:lnTo>
                <a:close/>
                <a:moveTo>
                  <a:pt x="181719" y="110114"/>
                </a:moveTo>
                <a:lnTo>
                  <a:pt x="181719" y="118318"/>
                </a:lnTo>
                <a:lnTo>
                  <a:pt x="173292" y="118318"/>
                </a:lnTo>
                <a:lnTo>
                  <a:pt x="173292" y="110114"/>
                </a:lnTo>
                <a:close/>
                <a:moveTo>
                  <a:pt x="190370" y="110114"/>
                </a:moveTo>
                <a:lnTo>
                  <a:pt x="190370" y="118318"/>
                </a:lnTo>
                <a:lnTo>
                  <a:pt x="181942" y="118318"/>
                </a:lnTo>
                <a:lnTo>
                  <a:pt x="181942" y="110114"/>
                </a:lnTo>
                <a:close/>
                <a:moveTo>
                  <a:pt x="199020" y="110114"/>
                </a:moveTo>
                <a:lnTo>
                  <a:pt x="199020" y="118318"/>
                </a:lnTo>
                <a:lnTo>
                  <a:pt x="190593" y="118318"/>
                </a:lnTo>
                <a:lnTo>
                  <a:pt x="190593" y="110114"/>
                </a:lnTo>
                <a:close/>
                <a:moveTo>
                  <a:pt x="207727" y="110114"/>
                </a:moveTo>
                <a:lnTo>
                  <a:pt x="207727" y="118318"/>
                </a:lnTo>
                <a:lnTo>
                  <a:pt x="199244" y="118318"/>
                </a:lnTo>
                <a:lnTo>
                  <a:pt x="199244" y="110114"/>
                </a:lnTo>
                <a:close/>
                <a:moveTo>
                  <a:pt x="216377" y="110114"/>
                </a:moveTo>
                <a:lnTo>
                  <a:pt x="216377" y="118318"/>
                </a:lnTo>
                <a:lnTo>
                  <a:pt x="207950" y="118318"/>
                </a:lnTo>
                <a:lnTo>
                  <a:pt x="207950" y="110114"/>
                </a:lnTo>
                <a:close/>
                <a:moveTo>
                  <a:pt x="225028" y="110114"/>
                </a:moveTo>
                <a:lnTo>
                  <a:pt x="225028" y="118318"/>
                </a:lnTo>
                <a:lnTo>
                  <a:pt x="216601" y="118318"/>
                </a:lnTo>
                <a:lnTo>
                  <a:pt x="216601" y="110114"/>
                </a:lnTo>
                <a:close/>
                <a:moveTo>
                  <a:pt x="233679" y="110114"/>
                </a:moveTo>
                <a:lnTo>
                  <a:pt x="233679" y="118318"/>
                </a:lnTo>
                <a:lnTo>
                  <a:pt x="225251" y="118318"/>
                </a:lnTo>
                <a:lnTo>
                  <a:pt x="225251" y="110114"/>
                </a:lnTo>
                <a:close/>
                <a:moveTo>
                  <a:pt x="242329" y="110114"/>
                </a:moveTo>
                <a:lnTo>
                  <a:pt x="242329" y="118318"/>
                </a:lnTo>
                <a:lnTo>
                  <a:pt x="233902" y="118318"/>
                </a:lnTo>
                <a:lnTo>
                  <a:pt x="233902" y="110114"/>
                </a:lnTo>
                <a:close/>
                <a:moveTo>
                  <a:pt x="250980" y="110114"/>
                </a:moveTo>
                <a:lnTo>
                  <a:pt x="250980" y="118318"/>
                </a:lnTo>
                <a:lnTo>
                  <a:pt x="242553" y="118318"/>
                </a:lnTo>
                <a:lnTo>
                  <a:pt x="242553" y="110114"/>
                </a:lnTo>
                <a:close/>
                <a:moveTo>
                  <a:pt x="259686" y="110114"/>
                </a:moveTo>
                <a:lnTo>
                  <a:pt x="259686" y="118318"/>
                </a:lnTo>
                <a:lnTo>
                  <a:pt x="251203" y="118318"/>
                </a:lnTo>
                <a:lnTo>
                  <a:pt x="251203" y="110114"/>
                </a:lnTo>
                <a:close/>
                <a:moveTo>
                  <a:pt x="268337" y="110114"/>
                </a:moveTo>
                <a:lnTo>
                  <a:pt x="268337" y="118318"/>
                </a:lnTo>
                <a:lnTo>
                  <a:pt x="259910" y="118318"/>
                </a:lnTo>
                <a:lnTo>
                  <a:pt x="259910" y="110114"/>
                </a:lnTo>
                <a:close/>
                <a:moveTo>
                  <a:pt x="276988" y="110114"/>
                </a:moveTo>
                <a:lnTo>
                  <a:pt x="276988" y="118318"/>
                </a:lnTo>
                <a:lnTo>
                  <a:pt x="268560" y="118318"/>
                </a:lnTo>
                <a:lnTo>
                  <a:pt x="268560" y="110114"/>
                </a:lnTo>
                <a:close/>
                <a:moveTo>
                  <a:pt x="17190" y="118541"/>
                </a:moveTo>
                <a:lnTo>
                  <a:pt x="17190" y="126801"/>
                </a:lnTo>
                <a:lnTo>
                  <a:pt x="8762" y="126801"/>
                </a:lnTo>
                <a:lnTo>
                  <a:pt x="8762" y="118541"/>
                </a:lnTo>
                <a:close/>
                <a:moveTo>
                  <a:pt x="25840" y="118541"/>
                </a:moveTo>
                <a:lnTo>
                  <a:pt x="25840" y="126801"/>
                </a:lnTo>
                <a:lnTo>
                  <a:pt x="17413" y="126801"/>
                </a:lnTo>
                <a:lnTo>
                  <a:pt x="17413" y="118541"/>
                </a:lnTo>
                <a:close/>
                <a:moveTo>
                  <a:pt x="34547" y="118541"/>
                </a:moveTo>
                <a:lnTo>
                  <a:pt x="34547" y="126801"/>
                </a:lnTo>
                <a:lnTo>
                  <a:pt x="26064" y="126801"/>
                </a:lnTo>
                <a:lnTo>
                  <a:pt x="26064" y="118541"/>
                </a:lnTo>
                <a:close/>
                <a:moveTo>
                  <a:pt x="43197" y="118541"/>
                </a:moveTo>
                <a:lnTo>
                  <a:pt x="43197" y="126801"/>
                </a:lnTo>
                <a:lnTo>
                  <a:pt x="34770" y="126801"/>
                </a:lnTo>
                <a:lnTo>
                  <a:pt x="34770" y="118541"/>
                </a:lnTo>
                <a:close/>
                <a:moveTo>
                  <a:pt x="51848" y="118541"/>
                </a:moveTo>
                <a:lnTo>
                  <a:pt x="51848" y="126801"/>
                </a:lnTo>
                <a:lnTo>
                  <a:pt x="43421" y="126801"/>
                </a:lnTo>
                <a:lnTo>
                  <a:pt x="43421" y="118541"/>
                </a:lnTo>
                <a:close/>
                <a:moveTo>
                  <a:pt x="60499" y="118541"/>
                </a:moveTo>
                <a:lnTo>
                  <a:pt x="60499" y="126801"/>
                </a:lnTo>
                <a:lnTo>
                  <a:pt x="52071" y="126801"/>
                </a:lnTo>
                <a:lnTo>
                  <a:pt x="52071" y="118541"/>
                </a:lnTo>
                <a:close/>
                <a:moveTo>
                  <a:pt x="69149" y="118541"/>
                </a:moveTo>
                <a:lnTo>
                  <a:pt x="69149" y="126801"/>
                </a:lnTo>
                <a:lnTo>
                  <a:pt x="60722" y="126801"/>
                </a:lnTo>
                <a:lnTo>
                  <a:pt x="60722" y="118541"/>
                </a:lnTo>
                <a:close/>
                <a:moveTo>
                  <a:pt x="77800" y="118541"/>
                </a:moveTo>
                <a:lnTo>
                  <a:pt x="77800" y="126801"/>
                </a:lnTo>
                <a:lnTo>
                  <a:pt x="69373" y="126801"/>
                </a:lnTo>
                <a:lnTo>
                  <a:pt x="69373" y="118541"/>
                </a:lnTo>
                <a:close/>
                <a:moveTo>
                  <a:pt x="86506" y="118541"/>
                </a:moveTo>
                <a:lnTo>
                  <a:pt x="86506" y="126801"/>
                </a:lnTo>
                <a:lnTo>
                  <a:pt x="78023" y="126801"/>
                </a:lnTo>
                <a:lnTo>
                  <a:pt x="78023" y="118541"/>
                </a:lnTo>
                <a:close/>
                <a:moveTo>
                  <a:pt x="95157" y="118541"/>
                </a:moveTo>
                <a:lnTo>
                  <a:pt x="95157" y="126801"/>
                </a:lnTo>
                <a:lnTo>
                  <a:pt x="86730" y="126801"/>
                </a:lnTo>
                <a:lnTo>
                  <a:pt x="86730" y="118541"/>
                </a:lnTo>
                <a:close/>
                <a:moveTo>
                  <a:pt x="103808" y="118541"/>
                </a:moveTo>
                <a:lnTo>
                  <a:pt x="103808" y="126801"/>
                </a:lnTo>
                <a:lnTo>
                  <a:pt x="95380" y="126801"/>
                </a:lnTo>
                <a:lnTo>
                  <a:pt x="95380" y="118541"/>
                </a:lnTo>
                <a:close/>
                <a:moveTo>
                  <a:pt x="112458" y="118541"/>
                </a:moveTo>
                <a:lnTo>
                  <a:pt x="112458" y="126801"/>
                </a:lnTo>
                <a:lnTo>
                  <a:pt x="104031" y="126801"/>
                </a:lnTo>
                <a:lnTo>
                  <a:pt x="104031" y="118541"/>
                </a:lnTo>
                <a:close/>
                <a:moveTo>
                  <a:pt x="121109" y="118541"/>
                </a:moveTo>
                <a:lnTo>
                  <a:pt x="121109" y="126801"/>
                </a:lnTo>
                <a:lnTo>
                  <a:pt x="112681" y="126801"/>
                </a:lnTo>
                <a:lnTo>
                  <a:pt x="112681" y="118541"/>
                </a:lnTo>
                <a:close/>
                <a:moveTo>
                  <a:pt x="129760" y="118541"/>
                </a:moveTo>
                <a:lnTo>
                  <a:pt x="129760" y="126801"/>
                </a:lnTo>
                <a:lnTo>
                  <a:pt x="121332" y="126801"/>
                </a:lnTo>
                <a:lnTo>
                  <a:pt x="121332" y="118541"/>
                </a:lnTo>
                <a:close/>
                <a:moveTo>
                  <a:pt x="138410" y="118541"/>
                </a:moveTo>
                <a:lnTo>
                  <a:pt x="138410" y="126801"/>
                </a:lnTo>
                <a:lnTo>
                  <a:pt x="129983" y="126801"/>
                </a:lnTo>
                <a:lnTo>
                  <a:pt x="129983" y="118541"/>
                </a:lnTo>
                <a:close/>
                <a:moveTo>
                  <a:pt x="147117" y="118541"/>
                </a:moveTo>
                <a:lnTo>
                  <a:pt x="147117" y="126801"/>
                </a:lnTo>
                <a:lnTo>
                  <a:pt x="138633" y="126801"/>
                </a:lnTo>
                <a:lnTo>
                  <a:pt x="138633" y="118541"/>
                </a:lnTo>
                <a:close/>
                <a:moveTo>
                  <a:pt x="155767" y="118541"/>
                </a:moveTo>
                <a:lnTo>
                  <a:pt x="155767" y="126801"/>
                </a:lnTo>
                <a:lnTo>
                  <a:pt x="147340" y="126801"/>
                </a:lnTo>
                <a:lnTo>
                  <a:pt x="147340" y="118541"/>
                </a:lnTo>
                <a:close/>
                <a:moveTo>
                  <a:pt x="164418" y="118541"/>
                </a:moveTo>
                <a:lnTo>
                  <a:pt x="164418" y="126801"/>
                </a:lnTo>
                <a:lnTo>
                  <a:pt x="155990" y="126801"/>
                </a:lnTo>
                <a:lnTo>
                  <a:pt x="155990" y="118541"/>
                </a:lnTo>
                <a:close/>
                <a:moveTo>
                  <a:pt x="173069" y="118541"/>
                </a:moveTo>
                <a:lnTo>
                  <a:pt x="173069" y="126801"/>
                </a:lnTo>
                <a:lnTo>
                  <a:pt x="164641" y="126801"/>
                </a:lnTo>
                <a:lnTo>
                  <a:pt x="164641" y="118541"/>
                </a:lnTo>
                <a:close/>
                <a:moveTo>
                  <a:pt x="181719" y="118541"/>
                </a:moveTo>
                <a:lnTo>
                  <a:pt x="181719" y="126801"/>
                </a:lnTo>
                <a:lnTo>
                  <a:pt x="173292" y="126801"/>
                </a:lnTo>
                <a:lnTo>
                  <a:pt x="173292" y="118541"/>
                </a:lnTo>
                <a:close/>
                <a:moveTo>
                  <a:pt x="190370" y="118541"/>
                </a:moveTo>
                <a:lnTo>
                  <a:pt x="190370" y="126801"/>
                </a:lnTo>
                <a:lnTo>
                  <a:pt x="181942" y="126801"/>
                </a:lnTo>
                <a:lnTo>
                  <a:pt x="181942" y="118541"/>
                </a:lnTo>
                <a:close/>
                <a:moveTo>
                  <a:pt x="199020" y="118541"/>
                </a:moveTo>
                <a:lnTo>
                  <a:pt x="199020" y="126801"/>
                </a:lnTo>
                <a:lnTo>
                  <a:pt x="190593" y="126801"/>
                </a:lnTo>
                <a:lnTo>
                  <a:pt x="190593" y="118541"/>
                </a:lnTo>
                <a:close/>
                <a:moveTo>
                  <a:pt x="207727" y="118541"/>
                </a:moveTo>
                <a:lnTo>
                  <a:pt x="207727" y="126801"/>
                </a:lnTo>
                <a:lnTo>
                  <a:pt x="199244" y="126801"/>
                </a:lnTo>
                <a:lnTo>
                  <a:pt x="199244" y="118541"/>
                </a:lnTo>
                <a:close/>
                <a:moveTo>
                  <a:pt x="216377" y="118541"/>
                </a:moveTo>
                <a:lnTo>
                  <a:pt x="216377" y="126801"/>
                </a:lnTo>
                <a:lnTo>
                  <a:pt x="207950" y="126801"/>
                </a:lnTo>
                <a:lnTo>
                  <a:pt x="207950" y="118541"/>
                </a:lnTo>
                <a:close/>
                <a:moveTo>
                  <a:pt x="225028" y="118541"/>
                </a:moveTo>
                <a:lnTo>
                  <a:pt x="225028" y="126801"/>
                </a:lnTo>
                <a:lnTo>
                  <a:pt x="216601" y="126801"/>
                </a:lnTo>
                <a:lnTo>
                  <a:pt x="216601" y="118541"/>
                </a:lnTo>
                <a:close/>
                <a:moveTo>
                  <a:pt x="233679" y="118541"/>
                </a:moveTo>
                <a:lnTo>
                  <a:pt x="233679" y="126801"/>
                </a:lnTo>
                <a:lnTo>
                  <a:pt x="225251" y="126801"/>
                </a:lnTo>
                <a:lnTo>
                  <a:pt x="225251" y="118541"/>
                </a:lnTo>
                <a:close/>
                <a:moveTo>
                  <a:pt x="242329" y="118541"/>
                </a:moveTo>
                <a:lnTo>
                  <a:pt x="242329" y="126801"/>
                </a:lnTo>
                <a:lnTo>
                  <a:pt x="233902" y="126801"/>
                </a:lnTo>
                <a:lnTo>
                  <a:pt x="233902" y="118541"/>
                </a:lnTo>
                <a:close/>
                <a:moveTo>
                  <a:pt x="250980" y="118541"/>
                </a:moveTo>
                <a:lnTo>
                  <a:pt x="250980" y="126801"/>
                </a:lnTo>
                <a:lnTo>
                  <a:pt x="242553" y="126801"/>
                </a:lnTo>
                <a:lnTo>
                  <a:pt x="242553" y="118541"/>
                </a:lnTo>
                <a:close/>
                <a:moveTo>
                  <a:pt x="259686" y="118541"/>
                </a:moveTo>
                <a:lnTo>
                  <a:pt x="259686" y="126801"/>
                </a:lnTo>
                <a:lnTo>
                  <a:pt x="251203" y="126801"/>
                </a:lnTo>
                <a:lnTo>
                  <a:pt x="251203" y="118541"/>
                </a:lnTo>
                <a:close/>
                <a:moveTo>
                  <a:pt x="268337" y="118541"/>
                </a:moveTo>
                <a:lnTo>
                  <a:pt x="268337" y="126801"/>
                </a:lnTo>
                <a:lnTo>
                  <a:pt x="259910" y="126801"/>
                </a:lnTo>
                <a:lnTo>
                  <a:pt x="259910" y="118541"/>
                </a:lnTo>
                <a:close/>
                <a:moveTo>
                  <a:pt x="276988" y="118541"/>
                </a:moveTo>
                <a:lnTo>
                  <a:pt x="276988" y="126801"/>
                </a:lnTo>
                <a:lnTo>
                  <a:pt x="268560" y="126801"/>
                </a:lnTo>
                <a:lnTo>
                  <a:pt x="268560" y="118541"/>
                </a:lnTo>
                <a:close/>
                <a:moveTo>
                  <a:pt x="17190" y="127025"/>
                </a:moveTo>
                <a:lnTo>
                  <a:pt x="17190" y="135229"/>
                </a:lnTo>
                <a:lnTo>
                  <a:pt x="8762" y="135229"/>
                </a:lnTo>
                <a:lnTo>
                  <a:pt x="8762" y="127025"/>
                </a:lnTo>
                <a:close/>
                <a:moveTo>
                  <a:pt x="25840" y="127025"/>
                </a:moveTo>
                <a:lnTo>
                  <a:pt x="25840" y="135229"/>
                </a:lnTo>
                <a:lnTo>
                  <a:pt x="17413" y="135229"/>
                </a:lnTo>
                <a:lnTo>
                  <a:pt x="17413" y="127025"/>
                </a:lnTo>
                <a:close/>
                <a:moveTo>
                  <a:pt x="34547" y="127025"/>
                </a:moveTo>
                <a:lnTo>
                  <a:pt x="34547" y="135229"/>
                </a:lnTo>
                <a:lnTo>
                  <a:pt x="26064" y="135229"/>
                </a:lnTo>
                <a:lnTo>
                  <a:pt x="26064" y="127025"/>
                </a:lnTo>
                <a:close/>
                <a:moveTo>
                  <a:pt x="43197" y="127025"/>
                </a:moveTo>
                <a:lnTo>
                  <a:pt x="43197" y="135229"/>
                </a:lnTo>
                <a:lnTo>
                  <a:pt x="34770" y="135229"/>
                </a:lnTo>
                <a:lnTo>
                  <a:pt x="34770" y="127025"/>
                </a:lnTo>
                <a:close/>
                <a:moveTo>
                  <a:pt x="51848" y="127025"/>
                </a:moveTo>
                <a:lnTo>
                  <a:pt x="51848" y="135229"/>
                </a:lnTo>
                <a:lnTo>
                  <a:pt x="43421" y="135229"/>
                </a:lnTo>
                <a:lnTo>
                  <a:pt x="43421" y="127025"/>
                </a:lnTo>
                <a:close/>
                <a:moveTo>
                  <a:pt x="60499" y="127025"/>
                </a:moveTo>
                <a:lnTo>
                  <a:pt x="60499" y="135229"/>
                </a:lnTo>
                <a:lnTo>
                  <a:pt x="52071" y="135229"/>
                </a:lnTo>
                <a:lnTo>
                  <a:pt x="52071" y="127025"/>
                </a:lnTo>
                <a:close/>
                <a:moveTo>
                  <a:pt x="69149" y="127025"/>
                </a:moveTo>
                <a:lnTo>
                  <a:pt x="69149" y="135229"/>
                </a:lnTo>
                <a:lnTo>
                  <a:pt x="60722" y="135229"/>
                </a:lnTo>
                <a:lnTo>
                  <a:pt x="60722" y="127025"/>
                </a:lnTo>
                <a:close/>
                <a:moveTo>
                  <a:pt x="77800" y="127025"/>
                </a:moveTo>
                <a:lnTo>
                  <a:pt x="77800" y="135229"/>
                </a:lnTo>
                <a:lnTo>
                  <a:pt x="69373" y="135229"/>
                </a:lnTo>
                <a:lnTo>
                  <a:pt x="69373" y="127025"/>
                </a:lnTo>
                <a:close/>
                <a:moveTo>
                  <a:pt x="86506" y="127025"/>
                </a:moveTo>
                <a:lnTo>
                  <a:pt x="86506" y="135229"/>
                </a:lnTo>
                <a:lnTo>
                  <a:pt x="78023" y="135229"/>
                </a:lnTo>
                <a:lnTo>
                  <a:pt x="78023" y="127025"/>
                </a:lnTo>
                <a:close/>
                <a:moveTo>
                  <a:pt x="95157" y="127025"/>
                </a:moveTo>
                <a:lnTo>
                  <a:pt x="95157" y="135229"/>
                </a:lnTo>
                <a:lnTo>
                  <a:pt x="86730" y="135229"/>
                </a:lnTo>
                <a:lnTo>
                  <a:pt x="86730" y="127025"/>
                </a:lnTo>
                <a:close/>
                <a:moveTo>
                  <a:pt x="103808" y="127025"/>
                </a:moveTo>
                <a:lnTo>
                  <a:pt x="103808" y="135229"/>
                </a:lnTo>
                <a:lnTo>
                  <a:pt x="95380" y="135229"/>
                </a:lnTo>
                <a:lnTo>
                  <a:pt x="95380" y="127025"/>
                </a:lnTo>
                <a:close/>
                <a:moveTo>
                  <a:pt x="112458" y="127025"/>
                </a:moveTo>
                <a:lnTo>
                  <a:pt x="112458" y="135229"/>
                </a:lnTo>
                <a:lnTo>
                  <a:pt x="104031" y="135229"/>
                </a:lnTo>
                <a:lnTo>
                  <a:pt x="104031" y="127025"/>
                </a:lnTo>
                <a:close/>
                <a:moveTo>
                  <a:pt x="121109" y="127025"/>
                </a:moveTo>
                <a:lnTo>
                  <a:pt x="121109" y="135229"/>
                </a:lnTo>
                <a:lnTo>
                  <a:pt x="112681" y="135229"/>
                </a:lnTo>
                <a:lnTo>
                  <a:pt x="112681" y="127025"/>
                </a:lnTo>
                <a:close/>
                <a:moveTo>
                  <a:pt x="129760" y="127025"/>
                </a:moveTo>
                <a:lnTo>
                  <a:pt x="129760" y="135229"/>
                </a:lnTo>
                <a:lnTo>
                  <a:pt x="121332" y="135229"/>
                </a:lnTo>
                <a:lnTo>
                  <a:pt x="121332" y="127025"/>
                </a:lnTo>
                <a:close/>
                <a:moveTo>
                  <a:pt x="138410" y="127025"/>
                </a:moveTo>
                <a:lnTo>
                  <a:pt x="138410" y="135229"/>
                </a:lnTo>
                <a:lnTo>
                  <a:pt x="129983" y="135229"/>
                </a:lnTo>
                <a:lnTo>
                  <a:pt x="129983" y="127025"/>
                </a:lnTo>
                <a:close/>
                <a:moveTo>
                  <a:pt x="147117" y="127025"/>
                </a:moveTo>
                <a:lnTo>
                  <a:pt x="147117" y="135229"/>
                </a:lnTo>
                <a:lnTo>
                  <a:pt x="138633" y="135229"/>
                </a:lnTo>
                <a:lnTo>
                  <a:pt x="138633" y="127025"/>
                </a:lnTo>
                <a:close/>
                <a:moveTo>
                  <a:pt x="155767" y="127025"/>
                </a:moveTo>
                <a:lnTo>
                  <a:pt x="155767" y="135229"/>
                </a:lnTo>
                <a:lnTo>
                  <a:pt x="147340" y="135229"/>
                </a:lnTo>
                <a:lnTo>
                  <a:pt x="147340" y="127025"/>
                </a:lnTo>
                <a:close/>
                <a:moveTo>
                  <a:pt x="164418" y="127025"/>
                </a:moveTo>
                <a:lnTo>
                  <a:pt x="164418" y="135229"/>
                </a:lnTo>
                <a:lnTo>
                  <a:pt x="155990" y="135229"/>
                </a:lnTo>
                <a:lnTo>
                  <a:pt x="155990" y="127025"/>
                </a:lnTo>
                <a:close/>
                <a:moveTo>
                  <a:pt x="173069" y="127025"/>
                </a:moveTo>
                <a:lnTo>
                  <a:pt x="173069" y="135229"/>
                </a:lnTo>
                <a:lnTo>
                  <a:pt x="164641" y="135229"/>
                </a:lnTo>
                <a:lnTo>
                  <a:pt x="164641" y="127025"/>
                </a:lnTo>
                <a:close/>
                <a:moveTo>
                  <a:pt x="181719" y="127025"/>
                </a:moveTo>
                <a:lnTo>
                  <a:pt x="181719" y="135229"/>
                </a:lnTo>
                <a:lnTo>
                  <a:pt x="173292" y="135229"/>
                </a:lnTo>
                <a:lnTo>
                  <a:pt x="173292" y="127025"/>
                </a:lnTo>
                <a:close/>
                <a:moveTo>
                  <a:pt x="190370" y="127025"/>
                </a:moveTo>
                <a:lnTo>
                  <a:pt x="190370" y="135229"/>
                </a:lnTo>
                <a:lnTo>
                  <a:pt x="181942" y="135229"/>
                </a:lnTo>
                <a:lnTo>
                  <a:pt x="181942" y="127025"/>
                </a:lnTo>
                <a:close/>
                <a:moveTo>
                  <a:pt x="199020" y="127025"/>
                </a:moveTo>
                <a:lnTo>
                  <a:pt x="199020" y="135229"/>
                </a:lnTo>
                <a:lnTo>
                  <a:pt x="190593" y="135229"/>
                </a:lnTo>
                <a:lnTo>
                  <a:pt x="190593" y="127025"/>
                </a:lnTo>
                <a:close/>
                <a:moveTo>
                  <a:pt x="207727" y="127025"/>
                </a:moveTo>
                <a:lnTo>
                  <a:pt x="207727" y="135229"/>
                </a:lnTo>
                <a:lnTo>
                  <a:pt x="199244" y="135229"/>
                </a:lnTo>
                <a:lnTo>
                  <a:pt x="199244" y="127025"/>
                </a:lnTo>
                <a:close/>
                <a:moveTo>
                  <a:pt x="216377" y="127025"/>
                </a:moveTo>
                <a:lnTo>
                  <a:pt x="216377" y="135229"/>
                </a:lnTo>
                <a:lnTo>
                  <a:pt x="207950" y="135229"/>
                </a:lnTo>
                <a:lnTo>
                  <a:pt x="207950" y="127025"/>
                </a:lnTo>
                <a:close/>
                <a:moveTo>
                  <a:pt x="225028" y="127025"/>
                </a:moveTo>
                <a:lnTo>
                  <a:pt x="225028" y="135229"/>
                </a:lnTo>
                <a:lnTo>
                  <a:pt x="216601" y="135229"/>
                </a:lnTo>
                <a:lnTo>
                  <a:pt x="216601" y="127025"/>
                </a:lnTo>
                <a:close/>
                <a:moveTo>
                  <a:pt x="233679" y="127025"/>
                </a:moveTo>
                <a:lnTo>
                  <a:pt x="233679" y="135229"/>
                </a:lnTo>
                <a:lnTo>
                  <a:pt x="225251" y="135229"/>
                </a:lnTo>
                <a:lnTo>
                  <a:pt x="225251" y="127025"/>
                </a:lnTo>
                <a:close/>
                <a:moveTo>
                  <a:pt x="242329" y="127025"/>
                </a:moveTo>
                <a:lnTo>
                  <a:pt x="242329" y="135229"/>
                </a:lnTo>
                <a:lnTo>
                  <a:pt x="233902" y="135229"/>
                </a:lnTo>
                <a:lnTo>
                  <a:pt x="233902" y="127025"/>
                </a:lnTo>
                <a:close/>
                <a:moveTo>
                  <a:pt x="250980" y="127025"/>
                </a:moveTo>
                <a:lnTo>
                  <a:pt x="250980" y="135229"/>
                </a:lnTo>
                <a:lnTo>
                  <a:pt x="242553" y="135229"/>
                </a:lnTo>
                <a:lnTo>
                  <a:pt x="242553" y="127025"/>
                </a:lnTo>
                <a:close/>
                <a:moveTo>
                  <a:pt x="259686" y="127025"/>
                </a:moveTo>
                <a:lnTo>
                  <a:pt x="259686" y="135229"/>
                </a:lnTo>
                <a:lnTo>
                  <a:pt x="251203" y="135229"/>
                </a:lnTo>
                <a:lnTo>
                  <a:pt x="251203" y="127025"/>
                </a:lnTo>
                <a:close/>
                <a:moveTo>
                  <a:pt x="268337" y="127025"/>
                </a:moveTo>
                <a:lnTo>
                  <a:pt x="268337" y="135229"/>
                </a:lnTo>
                <a:lnTo>
                  <a:pt x="259910" y="135229"/>
                </a:lnTo>
                <a:lnTo>
                  <a:pt x="259910" y="127025"/>
                </a:lnTo>
                <a:close/>
                <a:moveTo>
                  <a:pt x="276988" y="127025"/>
                </a:moveTo>
                <a:lnTo>
                  <a:pt x="276988" y="135229"/>
                </a:lnTo>
                <a:lnTo>
                  <a:pt x="268560" y="135229"/>
                </a:lnTo>
                <a:lnTo>
                  <a:pt x="268560" y="127025"/>
                </a:lnTo>
                <a:close/>
                <a:moveTo>
                  <a:pt x="17190" y="135452"/>
                </a:moveTo>
                <a:lnTo>
                  <a:pt x="17190" y="143712"/>
                </a:lnTo>
                <a:lnTo>
                  <a:pt x="8762" y="143712"/>
                </a:lnTo>
                <a:lnTo>
                  <a:pt x="8762" y="135452"/>
                </a:lnTo>
                <a:close/>
                <a:moveTo>
                  <a:pt x="25840" y="135452"/>
                </a:moveTo>
                <a:lnTo>
                  <a:pt x="25840" y="143712"/>
                </a:lnTo>
                <a:lnTo>
                  <a:pt x="17413" y="143712"/>
                </a:lnTo>
                <a:lnTo>
                  <a:pt x="17413" y="135452"/>
                </a:lnTo>
                <a:close/>
                <a:moveTo>
                  <a:pt x="34547" y="135452"/>
                </a:moveTo>
                <a:lnTo>
                  <a:pt x="34547" y="143712"/>
                </a:lnTo>
                <a:lnTo>
                  <a:pt x="26064" y="143712"/>
                </a:lnTo>
                <a:lnTo>
                  <a:pt x="26064" y="135452"/>
                </a:lnTo>
                <a:close/>
                <a:moveTo>
                  <a:pt x="43197" y="135452"/>
                </a:moveTo>
                <a:lnTo>
                  <a:pt x="43197" y="143712"/>
                </a:lnTo>
                <a:lnTo>
                  <a:pt x="34770" y="143712"/>
                </a:lnTo>
                <a:lnTo>
                  <a:pt x="34770" y="135452"/>
                </a:lnTo>
                <a:close/>
                <a:moveTo>
                  <a:pt x="51848" y="135452"/>
                </a:moveTo>
                <a:lnTo>
                  <a:pt x="51848" y="143712"/>
                </a:lnTo>
                <a:lnTo>
                  <a:pt x="43421" y="143712"/>
                </a:lnTo>
                <a:lnTo>
                  <a:pt x="43421" y="135452"/>
                </a:lnTo>
                <a:close/>
                <a:moveTo>
                  <a:pt x="60499" y="135452"/>
                </a:moveTo>
                <a:lnTo>
                  <a:pt x="60499" y="143712"/>
                </a:lnTo>
                <a:lnTo>
                  <a:pt x="52071" y="143712"/>
                </a:lnTo>
                <a:lnTo>
                  <a:pt x="52071" y="135452"/>
                </a:lnTo>
                <a:close/>
                <a:moveTo>
                  <a:pt x="69149" y="135452"/>
                </a:moveTo>
                <a:lnTo>
                  <a:pt x="69149" y="143712"/>
                </a:lnTo>
                <a:lnTo>
                  <a:pt x="60722" y="143712"/>
                </a:lnTo>
                <a:lnTo>
                  <a:pt x="60722" y="135452"/>
                </a:lnTo>
                <a:close/>
                <a:moveTo>
                  <a:pt x="77800" y="135452"/>
                </a:moveTo>
                <a:lnTo>
                  <a:pt x="77800" y="143712"/>
                </a:lnTo>
                <a:lnTo>
                  <a:pt x="69373" y="143712"/>
                </a:lnTo>
                <a:lnTo>
                  <a:pt x="69373" y="135452"/>
                </a:lnTo>
                <a:close/>
                <a:moveTo>
                  <a:pt x="86506" y="135452"/>
                </a:moveTo>
                <a:lnTo>
                  <a:pt x="86506" y="143712"/>
                </a:lnTo>
                <a:lnTo>
                  <a:pt x="78023" y="143712"/>
                </a:lnTo>
                <a:lnTo>
                  <a:pt x="78023" y="135452"/>
                </a:lnTo>
                <a:close/>
                <a:moveTo>
                  <a:pt x="95157" y="135452"/>
                </a:moveTo>
                <a:lnTo>
                  <a:pt x="95157" y="143712"/>
                </a:lnTo>
                <a:lnTo>
                  <a:pt x="86730" y="143712"/>
                </a:lnTo>
                <a:lnTo>
                  <a:pt x="86730" y="135452"/>
                </a:lnTo>
                <a:close/>
                <a:moveTo>
                  <a:pt x="103808" y="135452"/>
                </a:moveTo>
                <a:lnTo>
                  <a:pt x="103808" y="143712"/>
                </a:lnTo>
                <a:lnTo>
                  <a:pt x="95380" y="143712"/>
                </a:lnTo>
                <a:lnTo>
                  <a:pt x="95380" y="135452"/>
                </a:lnTo>
                <a:close/>
                <a:moveTo>
                  <a:pt x="112458" y="135452"/>
                </a:moveTo>
                <a:lnTo>
                  <a:pt x="112458" y="143712"/>
                </a:lnTo>
                <a:lnTo>
                  <a:pt x="104031" y="143712"/>
                </a:lnTo>
                <a:lnTo>
                  <a:pt x="104031" y="135452"/>
                </a:lnTo>
                <a:close/>
                <a:moveTo>
                  <a:pt x="121109" y="135452"/>
                </a:moveTo>
                <a:lnTo>
                  <a:pt x="121109" y="143712"/>
                </a:lnTo>
                <a:lnTo>
                  <a:pt x="112681" y="143712"/>
                </a:lnTo>
                <a:lnTo>
                  <a:pt x="112681" y="135452"/>
                </a:lnTo>
                <a:close/>
                <a:moveTo>
                  <a:pt x="129760" y="135452"/>
                </a:moveTo>
                <a:lnTo>
                  <a:pt x="129760" y="143712"/>
                </a:lnTo>
                <a:lnTo>
                  <a:pt x="121332" y="143712"/>
                </a:lnTo>
                <a:lnTo>
                  <a:pt x="121332" y="135452"/>
                </a:lnTo>
                <a:close/>
                <a:moveTo>
                  <a:pt x="138410" y="135452"/>
                </a:moveTo>
                <a:lnTo>
                  <a:pt x="138410" y="143712"/>
                </a:lnTo>
                <a:lnTo>
                  <a:pt x="129983" y="143712"/>
                </a:lnTo>
                <a:lnTo>
                  <a:pt x="129983" y="135452"/>
                </a:lnTo>
                <a:close/>
                <a:moveTo>
                  <a:pt x="147117" y="135452"/>
                </a:moveTo>
                <a:lnTo>
                  <a:pt x="147117" y="143712"/>
                </a:lnTo>
                <a:lnTo>
                  <a:pt x="138633" y="143712"/>
                </a:lnTo>
                <a:lnTo>
                  <a:pt x="138633" y="135452"/>
                </a:lnTo>
                <a:close/>
                <a:moveTo>
                  <a:pt x="155767" y="135452"/>
                </a:moveTo>
                <a:lnTo>
                  <a:pt x="155767" y="143712"/>
                </a:lnTo>
                <a:lnTo>
                  <a:pt x="147340" y="143712"/>
                </a:lnTo>
                <a:lnTo>
                  <a:pt x="147340" y="135452"/>
                </a:lnTo>
                <a:close/>
                <a:moveTo>
                  <a:pt x="164418" y="135452"/>
                </a:moveTo>
                <a:lnTo>
                  <a:pt x="164418" y="143712"/>
                </a:lnTo>
                <a:lnTo>
                  <a:pt x="155990" y="143712"/>
                </a:lnTo>
                <a:lnTo>
                  <a:pt x="155990" y="135452"/>
                </a:lnTo>
                <a:close/>
                <a:moveTo>
                  <a:pt x="173069" y="135452"/>
                </a:moveTo>
                <a:lnTo>
                  <a:pt x="173069" y="143712"/>
                </a:lnTo>
                <a:lnTo>
                  <a:pt x="164641" y="143712"/>
                </a:lnTo>
                <a:lnTo>
                  <a:pt x="164641" y="135452"/>
                </a:lnTo>
                <a:close/>
                <a:moveTo>
                  <a:pt x="181719" y="135452"/>
                </a:moveTo>
                <a:lnTo>
                  <a:pt x="181719" y="143712"/>
                </a:lnTo>
                <a:lnTo>
                  <a:pt x="173292" y="143712"/>
                </a:lnTo>
                <a:lnTo>
                  <a:pt x="173292" y="135452"/>
                </a:lnTo>
                <a:close/>
                <a:moveTo>
                  <a:pt x="190370" y="135452"/>
                </a:moveTo>
                <a:lnTo>
                  <a:pt x="190370" y="143712"/>
                </a:lnTo>
                <a:lnTo>
                  <a:pt x="181942" y="143712"/>
                </a:lnTo>
                <a:lnTo>
                  <a:pt x="181942" y="135452"/>
                </a:lnTo>
                <a:close/>
                <a:moveTo>
                  <a:pt x="199020" y="135452"/>
                </a:moveTo>
                <a:lnTo>
                  <a:pt x="199020" y="143712"/>
                </a:lnTo>
                <a:lnTo>
                  <a:pt x="190593" y="143712"/>
                </a:lnTo>
                <a:lnTo>
                  <a:pt x="190593" y="135452"/>
                </a:lnTo>
                <a:close/>
                <a:moveTo>
                  <a:pt x="207727" y="135452"/>
                </a:moveTo>
                <a:lnTo>
                  <a:pt x="207727" y="143712"/>
                </a:lnTo>
                <a:lnTo>
                  <a:pt x="199244" y="143712"/>
                </a:lnTo>
                <a:lnTo>
                  <a:pt x="199244" y="135452"/>
                </a:lnTo>
                <a:close/>
                <a:moveTo>
                  <a:pt x="216377" y="135452"/>
                </a:moveTo>
                <a:lnTo>
                  <a:pt x="216377" y="143712"/>
                </a:lnTo>
                <a:lnTo>
                  <a:pt x="207950" y="143712"/>
                </a:lnTo>
                <a:lnTo>
                  <a:pt x="207950" y="135452"/>
                </a:lnTo>
                <a:close/>
                <a:moveTo>
                  <a:pt x="225028" y="135452"/>
                </a:moveTo>
                <a:lnTo>
                  <a:pt x="225028" y="143712"/>
                </a:lnTo>
                <a:lnTo>
                  <a:pt x="216601" y="143712"/>
                </a:lnTo>
                <a:lnTo>
                  <a:pt x="216601" y="135452"/>
                </a:lnTo>
                <a:close/>
                <a:moveTo>
                  <a:pt x="233679" y="135452"/>
                </a:moveTo>
                <a:lnTo>
                  <a:pt x="233679" y="143712"/>
                </a:lnTo>
                <a:lnTo>
                  <a:pt x="225251" y="143712"/>
                </a:lnTo>
                <a:lnTo>
                  <a:pt x="225251" y="135452"/>
                </a:lnTo>
                <a:close/>
                <a:moveTo>
                  <a:pt x="242329" y="135452"/>
                </a:moveTo>
                <a:lnTo>
                  <a:pt x="242329" y="143712"/>
                </a:lnTo>
                <a:lnTo>
                  <a:pt x="233902" y="143712"/>
                </a:lnTo>
                <a:lnTo>
                  <a:pt x="233902" y="135452"/>
                </a:lnTo>
                <a:close/>
                <a:moveTo>
                  <a:pt x="250980" y="135452"/>
                </a:moveTo>
                <a:lnTo>
                  <a:pt x="250980" y="143712"/>
                </a:lnTo>
                <a:lnTo>
                  <a:pt x="242553" y="143712"/>
                </a:lnTo>
                <a:lnTo>
                  <a:pt x="242553" y="135452"/>
                </a:lnTo>
                <a:close/>
                <a:moveTo>
                  <a:pt x="259686" y="135452"/>
                </a:moveTo>
                <a:lnTo>
                  <a:pt x="259686" y="143712"/>
                </a:lnTo>
                <a:lnTo>
                  <a:pt x="251203" y="143712"/>
                </a:lnTo>
                <a:lnTo>
                  <a:pt x="251203" y="135452"/>
                </a:lnTo>
                <a:close/>
                <a:moveTo>
                  <a:pt x="268337" y="135452"/>
                </a:moveTo>
                <a:lnTo>
                  <a:pt x="268337" y="143712"/>
                </a:lnTo>
                <a:lnTo>
                  <a:pt x="259910" y="143712"/>
                </a:lnTo>
                <a:lnTo>
                  <a:pt x="259910" y="135452"/>
                </a:lnTo>
                <a:close/>
                <a:moveTo>
                  <a:pt x="276988" y="135452"/>
                </a:moveTo>
                <a:lnTo>
                  <a:pt x="276988" y="143712"/>
                </a:lnTo>
                <a:lnTo>
                  <a:pt x="268560" y="143712"/>
                </a:lnTo>
                <a:lnTo>
                  <a:pt x="268560" y="135452"/>
                </a:lnTo>
                <a:close/>
                <a:moveTo>
                  <a:pt x="17190" y="143935"/>
                </a:moveTo>
                <a:lnTo>
                  <a:pt x="17190" y="152139"/>
                </a:lnTo>
                <a:lnTo>
                  <a:pt x="8762" y="152139"/>
                </a:lnTo>
                <a:lnTo>
                  <a:pt x="8762" y="143935"/>
                </a:lnTo>
                <a:close/>
                <a:moveTo>
                  <a:pt x="25840" y="143935"/>
                </a:moveTo>
                <a:lnTo>
                  <a:pt x="25840" y="152139"/>
                </a:lnTo>
                <a:lnTo>
                  <a:pt x="17413" y="152139"/>
                </a:lnTo>
                <a:lnTo>
                  <a:pt x="17413" y="143935"/>
                </a:lnTo>
                <a:close/>
                <a:moveTo>
                  <a:pt x="34547" y="143935"/>
                </a:moveTo>
                <a:lnTo>
                  <a:pt x="34547" y="152139"/>
                </a:lnTo>
                <a:lnTo>
                  <a:pt x="26064" y="152139"/>
                </a:lnTo>
                <a:lnTo>
                  <a:pt x="26064" y="143935"/>
                </a:lnTo>
                <a:close/>
                <a:moveTo>
                  <a:pt x="43197" y="143935"/>
                </a:moveTo>
                <a:lnTo>
                  <a:pt x="43197" y="152139"/>
                </a:lnTo>
                <a:lnTo>
                  <a:pt x="34770" y="152139"/>
                </a:lnTo>
                <a:lnTo>
                  <a:pt x="34770" y="143935"/>
                </a:lnTo>
                <a:close/>
                <a:moveTo>
                  <a:pt x="51848" y="143935"/>
                </a:moveTo>
                <a:lnTo>
                  <a:pt x="51848" y="152139"/>
                </a:lnTo>
                <a:lnTo>
                  <a:pt x="43421" y="152139"/>
                </a:lnTo>
                <a:lnTo>
                  <a:pt x="43421" y="143935"/>
                </a:lnTo>
                <a:close/>
                <a:moveTo>
                  <a:pt x="60499" y="143935"/>
                </a:moveTo>
                <a:lnTo>
                  <a:pt x="60499" y="152139"/>
                </a:lnTo>
                <a:lnTo>
                  <a:pt x="52071" y="152139"/>
                </a:lnTo>
                <a:lnTo>
                  <a:pt x="52071" y="143935"/>
                </a:lnTo>
                <a:close/>
                <a:moveTo>
                  <a:pt x="69149" y="143935"/>
                </a:moveTo>
                <a:lnTo>
                  <a:pt x="69149" y="152139"/>
                </a:lnTo>
                <a:lnTo>
                  <a:pt x="60722" y="152139"/>
                </a:lnTo>
                <a:lnTo>
                  <a:pt x="60722" y="143935"/>
                </a:lnTo>
                <a:close/>
                <a:moveTo>
                  <a:pt x="77800" y="143935"/>
                </a:moveTo>
                <a:lnTo>
                  <a:pt x="77800" y="152139"/>
                </a:lnTo>
                <a:lnTo>
                  <a:pt x="69373" y="152139"/>
                </a:lnTo>
                <a:lnTo>
                  <a:pt x="69373" y="143935"/>
                </a:lnTo>
                <a:close/>
                <a:moveTo>
                  <a:pt x="86506" y="143935"/>
                </a:moveTo>
                <a:lnTo>
                  <a:pt x="86506" y="152139"/>
                </a:lnTo>
                <a:lnTo>
                  <a:pt x="78023" y="152139"/>
                </a:lnTo>
                <a:lnTo>
                  <a:pt x="78023" y="143935"/>
                </a:lnTo>
                <a:close/>
                <a:moveTo>
                  <a:pt x="95157" y="143935"/>
                </a:moveTo>
                <a:lnTo>
                  <a:pt x="95157" y="152139"/>
                </a:lnTo>
                <a:lnTo>
                  <a:pt x="86730" y="152139"/>
                </a:lnTo>
                <a:lnTo>
                  <a:pt x="86730" y="143935"/>
                </a:lnTo>
                <a:close/>
                <a:moveTo>
                  <a:pt x="103808" y="143935"/>
                </a:moveTo>
                <a:lnTo>
                  <a:pt x="103808" y="152139"/>
                </a:lnTo>
                <a:lnTo>
                  <a:pt x="95380" y="152139"/>
                </a:lnTo>
                <a:lnTo>
                  <a:pt x="95380" y="143935"/>
                </a:lnTo>
                <a:close/>
                <a:moveTo>
                  <a:pt x="112458" y="143935"/>
                </a:moveTo>
                <a:lnTo>
                  <a:pt x="112458" y="152139"/>
                </a:lnTo>
                <a:lnTo>
                  <a:pt x="104031" y="152139"/>
                </a:lnTo>
                <a:lnTo>
                  <a:pt x="104031" y="143935"/>
                </a:lnTo>
                <a:close/>
                <a:moveTo>
                  <a:pt x="121109" y="143935"/>
                </a:moveTo>
                <a:lnTo>
                  <a:pt x="121109" y="152139"/>
                </a:lnTo>
                <a:lnTo>
                  <a:pt x="112681" y="152139"/>
                </a:lnTo>
                <a:lnTo>
                  <a:pt x="112681" y="143935"/>
                </a:lnTo>
                <a:close/>
                <a:moveTo>
                  <a:pt x="129760" y="143935"/>
                </a:moveTo>
                <a:lnTo>
                  <a:pt x="129760" y="152139"/>
                </a:lnTo>
                <a:lnTo>
                  <a:pt x="121332" y="152139"/>
                </a:lnTo>
                <a:lnTo>
                  <a:pt x="121332" y="143935"/>
                </a:lnTo>
                <a:close/>
                <a:moveTo>
                  <a:pt x="138410" y="143935"/>
                </a:moveTo>
                <a:lnTo>
                  <a:pt x="138410" y="152139"/>
                </a:lnTo>
                <a:lnTo>
                  <a:pt x="129983" y="152139"/>
                </a:lnTo>
                <a:lnTo>
                  <a:pt x="129983" y="143935"/>
                </a:lnTo>
                <a:close/>
                <a:moveTo>
                  <a:pt x="147117" y="143935"/>
                </a:moveTo>
                <a:lnTo>
                  <a:pt x="147117" y="152139"/>
                </a:lnTo>
                <a:lnTo>
                  <a:pt x="138633" y="152139"/>
                </a:lnTo>
                <a:lnTo>
                  <a:pt x="138633" y="143935"/>
                </a:lnTo>
                <a:close/>
                <a:moveTo>
                  <a:pt x="155767" y="143935"/>
                </a:moveTo>
                <a:lnTo>
                  <a:pt x="155767" y="152139"/>
                </a:lnTo>
                <a:lnTo>
                  <a:pt x="147340" y="152139"/>
                </a:lnTo>
                <a:lnTo>
                  <a:pt x="147340" y="143935"/>
                </a:lnTo>
                <a:close/>
                <a:moveTo>
                  <a:pt x="164418" y="143935"/>
                </a:moveTo>
                <a:lnTo>
                  <a:pt x="164418" y="152139"/>
                </a:lnTo>
                <a:lnTo>
                  <a:pt x="155990" y="152139"/>
                </a:lnTo>
                <a:lnTo>
                  <a:pt x="155990" y="143935"/>
                </a:lnTo>
                <a:close/>
                <a:moveTo>
                  <a:pt x="173069" y="143935"/>
                </a:moveTo>
                <a:lnTo>
                  <a:pt x="173069" y="152139"/>
                </a:lnTo>
                <a:lnTo>
                  <a:pt x="164641" y="152139"/>
                </a:lnTo>
                <a:lnTo>
                  <a:pt x="164641" y="143935"/>
                </a:lnTo>
                <a:close/>
                <a:moveTo>
                  <a:pt x="181719" y="143935"/>
                </a:moveTo>
                <a:lnTo>
                  <a:pt x="181719" y="152139"/>
                </a:lnTo>
                <a:lnTo>
                  <a:pt x="173292" y="152139"/>
                </a:lnTo>
                <a:lnTo>
                  <a:pt x="173292" y="143935"/>
                </a:lnTo>
                <a:close/>
                <a:moveTo>
                  <a:pt x="190370" y="143935"/>
                </a:moveTo>
                <a:lnTo>
                  <a:pt x="190370" y="152139"/>
                </a:lnTo>
                <a:lnTo>
                  <a:pt x="181942" y="152139"/>
                </a:lnTo>
                <a:lnTo>
                  <a:pt x="181942" y="143935"/>
                </a:lnTo>
                <a:close/>
                <a:moveTo>
                  <a:pt x="199020" y="143935"/>
                </a:moveTo>
                <a:lnTo>
                  <a:pt x="199020" y="152139"/>
                </a:lnTo>
                <a:lnTo>
                  <a:pt x="190593" y="152139"/>
                </a:lnTo>
                <a:lnTo>
                  <a:pt x="190593" y="143935"/>
                </a:lnTo>
                <a:close/>
                <a:moveTo>
                  <a:pt x="207727" y="143935"/>
                </a:moveTo>
                <a:lnTo>
                  <a:pt x="207727" y="152139"/>
                </a:lnTo>
                <a:lnTo>
                  <a:pt x="199244" y="152139"/>
                </a:lnTo>
                <a:lnTo>
                  <a:pt x="199244" y="143935"/>
                </a:lnTo>
                <a:close/>
                <a:moveTo>
                  <a:pt x="216377" y="143935"/>
                </a:moveTo>
                <a:lnTo>
                  <a:pt x="216377" y="152139"/>
                </a:lnTo>
                <a:lnTo>
                  <a:pt x="207950" y="152139"/>
                </a:lnTo>
                <a:lnTo>
                  <a:pt x="207950" y="143935"/>
                </a:lnTo>
                <a:close/>
                <a:moveTo>
                  <a:pt x="225028" y="143935"/>
                </a:moveTo>
                <a:lnTo>
                  <a:pt x="225028" y="152139"/>
                </a:lnTo>
                <a:lnTo>
                  <a:pt x="216601" y="152139"/>
                </a:lnTo>
                <a:lnTo>
                  <a:pt x="216601" y="143935"/>
                </a:lnTo>
                <a:close/>
                <a:moveTo>
                  <a:pt x="233679" y="143935"/>
                </a:moveTo>
                <a:lnTo>
                  <a:pt x="233679" y="152139"/>
                </a:lnTo>
                <a:lnTo>
                  <a:pt x="225251" y="152139"/>
                </a:lnTo>
                <a:lnTo>
                  <a:pt x="225251" y="143935"/>
                </a:lnTo>
                <a:close/>
                <a:moveTo>
                  <a:pt x="242329" y="143935"/>
                </a:moveTo>
                <a:lnTo>
                  <a:pt x="242329" y="152139"/>
                </a:lnTo>
                <a:lnTo>
                  <a:pt x="233902" y="152139"/>
                </a:lnTo>
                <a:lnTo>
                  <a:pt x="233902" y="143935"/>
                </a:lnTo>
                <a:close/>
                <a:moveTo>
                  <a:pt x="250980" y="143935"/>
                </a:moveTo>
                <a:lnTo>
                  <a:pt x="250980" y="152139"/>
                </a:lnTo>
                <a:lnTo>
                  <a:pt x="242553" y="152139"/>
                </a:lnTo>
                <a:lnTo>
                  <a:pt x="242553" y="143935"/>
                </a:lnTo>
                <a:close/>
                <a:moveTo>
                  <a:pt x="259686" y="143935"/>
                </a:moveTo>
                <a:lnTo>
                  <a:pt x="259686" y="152139"/>
                </a:lnTo>
                <a:lnTo>
                  <a:pt x="251203" y="152139"/>
                </a:lnTo>
                <a:lnTo>
                  <a:pt x="251203" y="143935"/>
                </a:lnTo>
                <a:close/>
                <a:moveTo>
                  <a:pt x="268337" y="143935"/>
                </a:moveTo>
                <a:lnTo>
                  <a:pt x="268337" y="152139"/>
                </a:lnTo>
                <a:lnTo>
                  <a:pt x="259910" y="152139"/>
                </a:lnTo>
                <a:lnTo>
                  <a:pt x="259910" y="143935"/>
                </a:lnTo>
                <a:close/>
                <a:moveTo>
                  <a:pt x="276988" y="143935"/>
                </a:moveTo>
                <a:lnTo>
                  <a:pt x="276988" y="152139"/>
                </a:lnTo>
                <a:lnTo>
                  <a:pt x="268560" y="152139"/>
                </a:lnTo>
                <a:lnTo>
                  <a:pt x="268560" y="143935"/>
                </a:lnTo>
                <a:close/>
                <a:moveTo>
                  <a:pt x="8539" y="0"/>
                </a:moveTo>
                <a:lnTo>
                  <a:pt x="8539" y="8372"/>
                </a:lnTo>
                <a:lnTo>
                  <a:pt x="0" y="8372"/>
                </a:lnTo>
                <a:lnTo>
                  <a:pt x="0" y="8595"/>
                </a:lnTo>
                <a:lnTo>
                  <a:pt x="8539" y="8595"/>
                </a:lnTo>
                <a:lnTo>
                  <a:pt x="8539" y="16799"/>
                </a:lnTo>
                <a:lnTo>
                  <a:pt x="0" y="16799"/>
                </a:lnTo>
                <a:lnTo>
                  <a:pt x="0" y="17022"/>
                </a:lnTo>
                <a:lnTo>
                  <a:pt x="8539" y="17022"/>
                </a:lnTo>
                <a:lnTo>
                  <a:pt x="8539" y="25282"/>
                </a:lnTo>
                <a:lnTo>
                  <a:pt x="0" y="25282"/>
                </a:lnTo>
                <a:lnTo>
                  <a:pt x="0" y="25505"/>
                </a:lnTo>
                <a:lnTo>
                  <a:pt x="8539" y="25505"/>
                </a:lnTo>
                <a:lnTo>
                  <a:pt x="8539" y="33709"/>
                </a:lnTo>
                <a:lnTo>
                  <a:pt x="0" y="33709"/>
                </a:lnTo>
                <a:lnTo>
                  <a:pt x="0" y="33933"/>
                </a:lnTo>
                <a:lnTo>
                  <a:pt x="8539" y="33933"/>
                </a:lnTo>
                <a:lnTo>
                  <a:pt x="8539" y="42193"/>
                </a:lnTo>
                <a:lnTo>
                  <a:pt x="0" y="42193"/>
                </a:lnTo>
                <a:lnTo>
                  <a:pt x="0" y="42416"/>
                </a:lnTo>
                <a:lnTo>
                  <a:pt x="8539" y="42416"/>
                </a:lnTo>
                <a:lnTo>
                  <a:pt x="8539" y="50620"/>
                </a:lnTo>
                <a:lnTo>
                  <a:pt x="0" y="50620"/>
                </a:lnTo>
                <a:lnTo>
                  <a:pt x="0" y="50843"/>
                </a:lnTo>
                <a:lnTo>
                  <a:pt x="8539" y="50843"/>
                </a:lnTo>
                <a:lnTo>
                  <a:pt x="8539" y="59103"/>
                </a:lnTo>
                <a:lnTo>
                  <a:pt x="0" y="59103"/>
                </a:lnTo>
                <a:lnTo>
                  <a:pt x="0" y="59326"/>
                </a:lnTo>
                <a:lnTo>
                  <a:pt x="8539" y="59326"/>
                </a:lnTo>
                <a:lnTo>
                  <a:pt x="8539" y="67586"/>
                </a:lnTo>
                <a:lnTo>
                  <a:pt x="0" y="67586"/>
                </a:lnTo>
                <a:lnTo>
                  <a:pt x="0" y="67810"/>
                </a:lnTo>
                <a:lnTo>
                  <a:pt x="8539" y="67810"/>
                </a:lnTo>
                <a:lnTo>
                  <a:pt x="8539" y="76014"/>
                </a:lnTo>
                <a:lnTo>
                  <a:pt x="0" y="76014"/>
                </a:lnTo>
                <a:lnTo>
                  <a:pt x="0" y="76237"/>
                </a:lnTo>
                <a:lnTo>
                  <a:pt x="8539" y="76237"/>
                </a:lnTo>
                <a:lnTo>
                  <a:pt x="8539" y="84497"/>
                </a:lnTo>
                <a:lnTo>
                  <a:pt x="0" y="84497"/>
                </a:lnTo>
                <a:lnTo>
                  <a:pt x="0" y="84720"/>
                </a:lnTo>
                <a:lnTo>
                  <a:pt x="8539" y="84720"/>
                </a:lnTo>
                <a:lnTo>
                  <a:pt x="8539" y="92924"/>
                </a:lnTo>
                <a:lnTo>
                  <a:pt x="0" y="92924"/>
                </a:lnTo>
                <a:lnTo>
                  <a:pt x="0" y="93148"/>
                </a:lnTo>
                <a:lnTo>
                  <a:pt x="8539" y="93148"/>
                </a:lnTo>
                <a:lnTo>
                  <a:pt x="8539" y="101408"/>
                </a:lnTo>
                <a:lnTo>
                  <a:pt x="0" y="101408"/>
                </a:lnTo>
                <a:lnTo>
                  <a:pt x="0" y="101631"/>
                </a:lnTo>
                <a:lnTo>
                  <a:pt x="8539" y="101631"/>
                </a:lnTo>
                <a:lnTo>
                  <a:pt x="8539" y="109891"/>
                </a:lnTo>
                <a:lnTo>
                  <a:pt x="0" y="109891"/>
                </a:lnTo>
                <a:lnTo>
                  <a:pt x="0" y="110114"/>
                </a:lnTo>
                <a:lnTo>
                  <a:pt x="8539" y="110114"/>
                </a:lnTo>
                <a:lnTo>
                  <a:pt x="8539" y="118318"/>
                </a:lnTo>
                <a:lnTo>
                  <a:pt x="0" y="118318"/>
                </a:lnTo>
                <a:lnTo>
                  <a:pt x="0" y="118541"/>
                </a:lnTo>
                <a:lnTo>
                  <a:pt x="8539" y="118541"/>
                </a:lnTo>
                <a:lnTo>
                  <a:pt x="8539" y="126801"/>
                </a:lnTo>
                <a:lnTo>
                  <a:pt x="0" y="126801"/>
                </a:lnTo>
                <a:lnTo>
                  <a:pt x="0" y="127025"/>
                </a:lnTo>
                <a:lnTo>
                  <a:pt x="8539" y="127025"/>
                </a:lnTo>
                <a:lnTo>
                  <a:pt x="8539" y="135229"/>
                </a:lnTo>
                <a:lnTo>
                  <a:pt x="0" y="135229"/>
                </a:lnTo>
                <a:lnTo>
                  <a:pt x="0" y="135452"/>
                </a:lnTo>
                <a:lnTo>
                  <a:pt x="8539" y="135452"/>
                </a:lnTo>
                <a:lnTo>
                  <a:pt x="8539" y="143712"/>
                </a:lnTo>
                <a:lnTo>
                  <a:pt x="0" y="143712"/>
                </a:lnTo>
                <a:lnTo>
                  <a:pt x="0" y="143935"/>
                </a:lnTo>
                <a:lnTo>
                  <a:pt x="8539" y="143935"/>
                </a:lnTo>
                <a:lnTo>
                  <a:pt x="8539" y="152139"/>
                </a:lnTo>
                <a:lnTo>
                  <a:pt x="0" y="152139"/>
                </a:lnTo>
                <a:lnTo>
                  <a:pt x="0" y="152362"/>
                </a:lnTo>
                <a:lnTo>
                  <a:pt x="8539" y="152362"/>
                </a:lnTo>
                <a:lnTo>
                  <a:pt x="8539" y="160734"/>
                </a:lnTo>
                <a:lnTo>
                  <a:pt x="8762" y="160734"/>
                </a:lnTo>
                <a:lnTo>
                  <a:pt x="8762" y="152362"/>
                </a:lnTo>
                <a:lnTo>
                  <a:pt x="17190" y="152362"/>
                </a:lnTo>
                <a:lnTo>
                  <a:pt x="17190" y="160734"/>
                </a:lnTo>
                <a:lnTo>
                  <a:pt x="17413" y="160734"/>
                </a:lnTo>
                <a:lnTo>
                  <a:pt x="17413" y="152362"/>
                </a:lnTo>
                <a:lnTo>
                  <a:pt x="25840" y="152362"/>
                </a:lnTo>
                <a:lnTo>
                  <a:pt x="25840" y="160734"/>
                </a:lnTo>
                <a:lnTo>
                  <a:pt x="26064" y="160734"/>
                </a:lnTo>
                <a:lnTo>
                  <a:pt x="26064" y="152362"/>
                </a:lnTo>
                <a:lnTo>
                  <a:pt x="34547" y="152362"/>
                </a:lnTo>
                <a:lnTo>
                  <a:pt x="34547" y="160734"/>
                </a:lnTo>
                <a:lnTo>
                  <a:pt x="34770" y="160734"/>
                </a:lnTo>
                <a:lnTo>
                  <a:pt x="34770" y="152362"/>
                </a:lnTo>
                <a:lnTo>
                  <a:pt x="43197" y="152362"/>
                </a:lnTo>
                <a:lnTo>
                  <a:pt x="43197" y="160734"/>
                </a:lnTo>
                <a:lnTo>
                  <a:pt x="43421" y="160734"/>
                </a:lnTo>
                <a:lnTo>
                  <a:pt x="43421" y="152362"/>
                </a:lnTo>
                <a:lnTo>
                  <a:pt x="51848" y="152362"/>
                </a:lnTo>
                <a:lnTo>
                  <a:pt x="51848" y="160734"/>
                </a:lnTo>
                <a:lnTo>
                  <a:pt x="52071" y="160734"/>
                </a:lnTo>
                <a:lnTo>
                  <a:pt x="52071" y="152362"/>
                </a:lnTo>
                <a:lnTo>
                  <a:pt x="60499" y="152362"/>
                </a:lnTo>
                <a:lnTo>
                  <a:pt x="60499" y="160734"/>
                </a:lnTo>
                <a:lnTo>
                  <a:pt x="60722" y="160734"/>
                </a:lnTo>
                <a:lnTo>
                  <a:pt x="60722" y="152362"/>
                </a:lnTo>
                <a:lnTo>
                  <a:pt x="69149" y="152362"/>
                </a:lnTo>
                <a:lnTo>
                  <a:pt x="69149" y="160734"/>
                </a:lnTo>
                <a:lnTo>
                  <a:pt x="69373" y="160734"/>
                </a:lnTo>
                <a:lnTo>
                  <a:pt x="69373" y="152362"/>
                </a:lnTo>
                <a:lnTo>
                  <a:pt x="77800" y="152362"/>
                </a:lnTo>
                <a:lnTo>
                  <a:pt x="77800" y="160734"/>
                </a:lnTo>
                <a:lnTo>
                  <a:pt x="78023" y="160734"/>
                </a:lnTo>
                <a:lnTo>
                  <a:pt x="78023" y="152362"/>
                </a:lnTo>
                <a:lnTo>
                  <a:pt x="86506" y="152362"/>
                </a:lnTo>
                <a:lnTo>
                  <a:pt x="86506" y="160734"/>
                </a:lnTo>
                <a:lnTo>
                  <a:pt x="86730" y="160734"/>
                </a:lnTo>
                <a:lnTo>
                  <a:pt x="86730" y="152362"/>
                </a:lnTo>
                <a:lnTo>
                  <a:pt x="95157" y="152362"/>
                </a:lnTo>
                <a:lnTo>
                  <a:pt x="95157" y="160734"/>
                </a:lnTo>
                <a:lnTo>
                  <a:pt x="95380" y="160734"/>
                </a:lnTo>
                <a:lnTo>
                  <a:pt x="95380" y="152362"/>
                </a:lnTo>
                <a:lnTo>
                  <a:pt x="103808" y="152362"/>
                </a:lnTo>
                <a:lnTo>
                  <a:pt x="103808" y="160734"/>
                </a:lnTo>
                <a:lnTo>
                  <a:pt x="104031" y="160734"/>
                </a:lnTo>
                <a:lnTo>
                  <a:pt x="104031" y="152362"/>
                </a:lnTo>
                <a:lnTo>
                  <a:pt x="112458" y="152362"/>
                </a:lnTo>
                <a:lnTo>
                  <a:pt x="112458" y="160734"/>
                </a:lnTo>
                <a:lnTo>
                  <a:pt x="112681" y="160734"/>
                </a:lnTo>
                <a:lnTo>
                  <a:pt x="112681" y="152362"/>
                </a:lnTo>
                <a:lnTo>
                  <a:pt x="121109" y="152362"/>
                </a:lnTo>
                <a:lnTo>
                  <a:pt x="121109" y="160734"/>
                </a:lnTo>
                <a:lnTo>
                  <a:pt x="121332" y="160734"/>
                </a:lnTo>
                <a:lnTo>
                  <a:pt x="121332" y="152362"/>
                </a:lnTo>
                <a:lnTo>
                  <a:pt x="129760" y="152362"/>
                </a:lnTo>
                <a:lnTo>
                  <a:pt x="129760" y="160734"/>
                </a:lnTo>
                <a:lnTo>
                  <a:pt x="129983" y="160734"/>
                </a:lnTo>
                <a:lnTo>
                  <a:pt x="129983" y="152362"/>
                </a:lnTo>
                <a:lnTo>
                  <a:pt x="138410" y="152362"/>
                </a:lnTo>
                <a:lnTo>
                  <a:pt x="138410" y="160734"/>
                </a:lnTo>
                <a:lnTo>
                  <a:pt x="138633" y="160734"/>
                </a:lnTo>
                <a:lnTo>
                  <a:pt x="138633" y="152362"/>
                </a:lnTo>
                <a:lnTo>
                  <a:pt x="147117" y="152362"/>
                </a:lnTo>
                <a:lnTo>
                  <a:pt x="147117" y="160734"/>
                </a:lnTo>
                <a:lnTo>
                  <a:pt x="147340" y="160734"/>
                </a:lnTo>
                <a:lnTo>
                  <a:pt x="147340" y="152362"/>
                </a:lnTo>
                <a:lnTo>
                  <a:pt x="155767" y="152362"/>
                </a:lnTo>
                <a:lnTo>
                  <a:pt x="155767" y="160734"/>
                </a:lnTo>
                <a:lnTo>
                  <a:pt x="155990" y="160734"/>
                </a:lnTo>
                <a:lnTo>
                  <a:pt x="155990" y="152362"/>
                </a:lnTo>
                <a:lnTo>
                  <a:pt x="164418" y="152362"/>
                </a:lnTo>
                <a:lnTo>
                  <a:pt x="164418" y="160734"/>
                </a:lnTo>
                <a:lnTo>
                  <a:pt x="164641" y="160734"/>
                </a:lnTo>
                <a:lnTo>
                  <a:pt x="164641" y="152362"/>
                </a:lnTo>
                <a:lnTo>
                  <a:pt x="173069" y="152362"/>
                </a:lnTo>
                <a:lnTo>
                  <a:pt x="173069" y="160734"/>
                </a:lnTo>
                <a:lnTo>
                  <a:pt x="173292" y="160734"/>
                </a:lnTo>
                <a:lnTo>
                  <a:pt x="173292" y="152362"/>
                </a:lnTo>
                <a:lnTo>
                  <a:pt x="181719" y="152362"/>
                </a:lnTo>
                <a:lnTo>
                  <a:pt x="181719" y="160734"/>
                </a:lnTo>
                <a:lnTo>
                  <a:pt x="181942" y="160734"/>
                </a:lnTo>
                <a:lnTo>
                  <a:pt x="181942" y="152362"/>
                </a:lnTo>
                <a:lnTo>
                  <a:pt x="190370" y="152362"/>
                </a:lnTo>
                <a:lnTo>
                  <a:pt x="190370" y="160734"/>
                </a:lnTo>
                <a:lnTo>
                  <a:pt x="190593" y="160734"/>
                </a:lnTo>
                <a:lnTo>
                  <a:pt x="190593" y="152362"/>
                </a:lnTo>
                <a:lnTo>
                  <a:pt x="199020" y="152362"/>
                </a:lnTo>
                <a:lnTo>
                  <a:pt x="199020" y="160734"/>
                </a:lnTo>
                <a:lnTo>
                  <a:pt x="199244" y="160734"/>
                </a:lnTo>
                <a:lnTo>
                  <a:pt x="199244" y="152362"/>
                </a:lnTo>
                <a:lnTo>
                  <a:pt x="207727" y="152362"/>
                </a:lnTo>
                <a:lnTo>
                  <a:pt x="207727" y="160734"/>
                </a:lnTo>
                <a:lnTo>
                  <a:pt x="207950" y="160734"/>
                </a:lnTo>
                <a:lnTo>
                  <a:pt x="207950" y="152362"/>
                </a:lnTo>
                <a:lnTo>
                  <a:pt x="216377" y="152362"/>
                </a:lnTo>
                <a:lnTo>
                  <a:pt x="216377" y="160734"/>
                </a:lnTo>
                <a:lnTo>
                  <a:pt x="216601" y="160734"/>
                </a:lnTo>
                <a:lnTo>
                  <a:pt x="216601" y="152362"/>
                </a:lnTo>
                <a:lnTo>
                  <a:pt x="225028" y="152362"/>
                </a:lnTo>
                <a:lnTo>
                  <a:pt x="225028" y="160734"/>
                </a:lnTo>
                <a:lnTo>
                  <a:pt x="225251" y="160734"/>
                </a:lnTo>
                <a:lnTo>
                  <a:pt x="225251" y="152362"/>
                </a:lnTo>
                <a:lnTo>
                  <a:pt x="233679" y="152362"/>
                </a:lnTo>
                <a:lnTo>
                  <a:pt x="233679" y="160734"/>
                </a:lnTo>
                <a:lnTo>
                  <a:pt x="233902" y="160734"/>
                </a:lnTo>
                <a:lnTo>
                  <a:pt x="233902" y="152362"/>
                </a:lnTo>
                <a:lnTo>
                  <a:pt x="242329" y="152362"/>
                </a:lnTo>
                <a:lnTo>
                  <a:pt x="242329" y="160734"/>
                </a:lnTo>
                <a:lnTo>
                  <a:pt x="242553" y="160734"/>
                </a:lnTo>
                <a:lnTo>
                  <a:pt x="242553" y="152362"/>
                </a:lnTo>
                <a:lnTo>
                  <a:pt x="250980" y="152362"/>
                </a:lnTo>
                <a:lnTo>
                  <a:pt x="250980" y="160734"/>
                </a:lnTo>
                <a:lnTo>
                  <a:pt x="251203" y="160734"/>
                </a:lnTo>
                <a:lnTo>
                  <a:pt x="251203" y="152362"/>
                </a:lnTo>
                <a:lnTo>
                  <a:pt x="259686" y="152362"/>
                </a:lnTo>
                <a:lnTo>
                  <a:pt x="259686" y="160734"/>
                </a:lnTo>
                <a:lnTo>
                  <a:pt x="259910" y="160734"/>
                </a:lnTo>
                <a:lnTo>
                  <a:pt x="259910" y="152362"/>
                </a:lnTo>
                <a:lnTo>
                  <a:pt x="268337" y="152362"/>
                </a:lnTo>
                <a:lnTo>
                  <a:pt x="268337" y="160734"/>
                </a:lnTo>
                <a:lnTo>
                  <a:pt x="268560" y="160734"/>
                </a:lnTo>
                <a:lnTo>
                  <a:pt x="268560" y="152362"/>
                </a:lnTo>
                <a:lnTo>
                  <a:pt x="276988" y="152362"/>
                </a:lnTo>
                <a:lnTo>
                  <a:pt x="276988" y="160734"/>
                </a:lnTo>
                <a:lnTo>
                  <a:pt x="277211" y="160734"/>
                </a:lnTo>
                <a:lnTo>
                  <a:pt x="277211" y="152362"/>
                </a:lnTo>
                <a:lnTo>
                  <a:pt x="285750" y="152362"/>
                </a:lnTo>
                <a:lnTo>
                  <a:pt x="285750" y="152139"/>
                </a:lnTo>
                <a:lnTo>
                  <a:pt x="277211" y="152139"/>
                </a:lnTo>
                <a:lnTo>
                  <a:pt x="277211" y="143935"/>
                </a:lnTo>
                <a:lnTo>
                  <a:pt x="285750" y="143935"/>
                </a:lnTo>
                <a:lnTo>
                  <a:pt x="285750" y="143712"/>
                </a:lnTo>
                <a:lnTo>
                  <a:pt x="277211" y="143712"/>
                </a:lnTo>
                <a:lnTo>
                  <a:pt x="277211" y="135452"/>
                </a:lnTo>
                <a:lnTo>
                  <a:pt x="285750" y="135452"/>
                </a:lnTo>
                <a:lnTo>
                  <a:pt x="285750" y="135229"/>
                </a:lnTo>
                <a:lnTo>
                  <a:pt x="277211" y="135229"/>
                </a:lnTo>
                <a:lnTo>
                  <a:pt x="277211" y="127025"/>
                </a:lnTo>
                <a:lnTo>
                  <a:pt x="285750" y="127025"/>
                </a:lnTo>
                <a:lnTo>
                  <a:pt x="285750" y="126801"/>
                </a:lnTo>
                <a:lnTo>
                  <a:pt x="277211" y="126801"/>
                </a:lnTo>
                <a:lnTo>
                  <a:pt x="277211" y="118541"/>
                </a:lnTo>
                <a:lnTo>
                  <a:pt x="285750" y="118541"/>
                </a:lnTo>
                <a:lnTo>
                  <a:pt x="285750" y="118318"/>
                </a:lnTo>
                <a:lnTo>
                  <a:pt x="277211" y="118318"/>
                </a:lnTo>
                <a:lnTo>
                  <a:pt x="277211" y="110114"/>
                </a:lnTo>
                <a:lnTo>
                  <a:pt x="285750" y="110114"/>
                </a:lnTo>
                <a:lnTo>
                  <a:pt x="285750" y="109891"/>
                </a:lnTo>
                <a:lnTo>
                  <a:pt x="277211" y="109891"/>
                </a:lnTo>
                <a:lnTo>
                  <a:pt x="277211" y="101631"/>
                </a:lnTo>
                <a:lnTo>
                  <a:pt x="285750" y="101631"/>
                </a:lnTo>
                <a:lnTo>
                  <a:pt x="285750" y="101408"/>
                </a:lnTo>
                <a:lnTo>
                  <a:pt x="277211" y="101408"/>
                </a:lnTo>
                <a:lnTo>
                  <a:pt x="277211" y="93148"/>
                </a:lnTo>
                <a:lnTo>
                  <a:pt x="285750" y="93148"/>
                </a:lnTo>
                <a:lnTo>
                  <a:pt x="285750" y="92924"/>
                </a:lnTo>
                <a:lnTo>
                  <a:pt x="277211" y="92924"/>
                </a:lnTo>
                <a:lnTo>
                  <a:pt x="277211" y="84720"/>
                </a:lnTo>
                <a:lnTo>
                  <a:pt x="285750" y="84720"/>
                </a:lnTo>
                <a:lnTo>
                  <a:pt x="285750" y="84497"/>
                </a:lnTo>
                <a:lnTo>
                  <a:pt x="277211" y="84497"/>
                </a:lnTo>
                <a:lnTo>
                  <a:pt x="277211" y="76237"/>
                </a:lnTo>
                <a:lnTo>
                  <a:pt x="285750" y="76237"/>
                </a:lnTo>
                <a:lnTo>
                  <a:pt x="285750" y="76014"/>
                </a:lnTo>
                <a:lnTo>
                  <a:pt x="277211" y="76014"/>
                </a:lnTo>
                <a:lnTo>
                  <a:pt x="277211" y="67810"/>
                </a:lnTo>
                <a:lnTo>
                  <a:pt x="285750" y="67810"/>
                </a:lnTo>
                <a:lnTo>
                  <a:pt x="285750" y="67586"/>
                </a:lnTo>
                <a:lnTo>
                  <a:pt x="277211" y="67586"/>
                </a:lnTo>
                <a:lnTo>
                  <a:pt x="277211" y="59326"/>
                </a:lnTo>
                <a:lnTo>
                  <a:pt x="285750" y="59326"/>
                </a:lnTo>
                <a:lnTo>
                  <a:pt x="285750" y="59103"/>
                </a:lnTo>
                <a:lnTo>
                  <a:pt x="277211" y="59103"/>
                </a:lnTo>
                <a:lnTo>
                  <a:pt x="277211" y="50843"/>
                </a:lnTo>
                <a:lnTo>
                  <a:pt x="285750" y="50843"/>
                </a:lnTo>
                <a:lnTo>
                  <a:pt x="285750" y="50620"/>
                </a:lnTo>
                <a:lnTo>
                  <a:pt x="277211" y="50620"/>
                </a:lnTo>
                <a:lnTo>
                  <a:pt x="277211" y="42416"/>
                </a:lnTo>
                <a:lnTo>
                  <a:pt x="285750" y="42416"/>
                </a:lnTo>
                <a:lnTo>
                  <a:pt x="285750" y="42193"/>
                </a:lnTo>
                <a:lnTo>
                  <a:pt x="277211" y="42193"/>
                </a:lnTo>
                <a:lnTo>
                  <a:pt x="277211" y="33933"/>
                </a:lnTo>
                <a:lnTo>
                  <a:pt x="285750" y="33933"/>
                </a:lnTo>
                <a:lnTo>
                  <a:pt x="285750" y="33709"/>
                </a:lnTo>
                <a:lnTo>
                  <a:pt x="277211" y="33709"/>
                </a:lnTo>
                <a:lnTo>
                  <a:pt x="277211" y="25505"/>
                </a:lnTo>
                <a:lnTo>
                  <a:pt x="285750" y="25505"/>
                </a:lnTo>
                <a:lnTo>
                  <a:pt x="285750" y="25282"/>
                </a:lnTo>
                <a:lnTo>
                  <a:pt x="277211" y="25282"/>
                </a:lnTo>
                <a:lnTo>
                  <a:pt x="277211" y="17022"/>
                </a:lnTo>
                <a:lnTo>
                  <a:pt x="285750" y="17022"/>
                </a:lnTo>
                <a:lnTo>
                  <a:pt x="285750" y="16799"/>
                </a:lnTo>
                <a:lnTo>
                  <a:pt x="277211" y="16799"/>
                </a:lnTo>
                <a:lnTo>
                  <a:pt x="277211" y="8595"/>
                </a:lnTo>
                <a:lnTo>
                  <a:pt x="285750" y="8595"/>
                </a:lnTo>
                <a:lnTo>
                  <a:pt x="285750" y="8372"/>
                </a:lnTo>
                <a:lnTo>
                  <a:pt x="277211" y="8372"/>
                </a:lnTo>
                <a:lnTo>
                  <a:pt x="277211" y="0"/>
                </a:lnTo>
                <a:lnTo>
                  <a:pt x="276988" y="0"/>
                </a:lnTo>
                <a:lnTo>
                  <a:pt x="276988" y="8372"/>
                </a:lnTo>
                <a:lnTo>
                  <a:pt x="268560" y="8372"/>
                </a:lnTo>
                <a:lnTo>
                  <a:pt x="268560" y="0"/>
                </a:lnTo>
                <a:lnTo>
                  <a:pt x="268337" y="0"/>
                </a:lnTo>
                <a:lnTo>
                  <a:pt x="268337" y="8372"/>
                </a:lnTo>
                <a:lnTo>
                  <a:pt x="259910" y="8372"/>
                </a:lnTo>
                <a:lnTo>
                  <a:pt x="259910" y="0"/>
                </a:lnTo>
                <a:lnTo>
                  <a:pt x="259686" y="0"/>
                </a:lnTo>
                <a:lnTo>
                  <a:pt x="259686" y="8372"/>
                </a:lnTo>
                <a:lnTo>
                  <a:pt x="251203" y="8372"/>
                </a:lnTo>
                <a:lnTo>
                  <a:pt x="251203" y="0"/>
                </a:lnTo>
                <a:lnTo>
                  <a:pt x="250980" y="0"/>
                </a:lnTo>
                <a:lnTo>
                  <a:pt x="250980" y="8372"/>
                </a:lnTo>
                <a:lnTo>
                  <a:pt x="242553" y="8372"/>
                </a:lnTo>
                <a:lnTo>
                  <a:pt x="242553" y="0"/>
                </a:lnTo>
                <a:lnTo>
                  <a:pt x="242329" y="0"/>
                </a:lnTo>
                <a:lnTo>
                  <a:pt x="242329" y="8372"/>
                </a:lnTo>
                <a:lnTo>
                  <a:pt x="233902" y="8372"/>
                </a:lnTo>
                <a:lnTo>
                  <a:pt x="233902" y="0"/>
                </a:lnTo>
                <a:lnTo>
                  <a:pt x="233679" y="0"/>
                </a:lnTo>
                <a:lnTo>
                  <a:pt x="233679" y="8372"/>
                </a:lnTo>
                <a:lnTo>
                  <a:pt x="225251" y="8372"/>
                </a:lnTo>
                <a:lnTo>
                  <a:pt x="225251" y="0"/>
                </a:lnTo>
                <a:lnTo>
                  <a:pt x="225028" y="0"/>
                </a:lnTo>
                <a:lnTo>
                  <a:pt x="225028" y="8372"/>
                </a:lnTo>
                <a:lnTo>
                  <a:pt x="216601" y="8372"/>
                </a:lnTo>
                <a:lnTo>
                  <a:pt x="216601" y="0"/>
                </a:lnTo>
                <a:lnTo>
                  <a:pt x="216377" y="0"/>
                </a:lnTo>
                <a:lnTo>
                  <a:pt x="216377" y="8372"/>
                </a:lnTo>
                <a:lnTo>
                  <a:pt x="207950" y="8372"/>
                </a:lnTo>
                <a:lnTo>
                  <a:pt x="207950" y="0"/>
                </a:lnTo>
                <a:lnTo>
                  <a:pt x="207727" y="0"/>
                </a:lnTo>
                <a:lnTo>
                  <a:pt x="207727" y="8372"/>
                </a:lnTo>
                <a:lnTo>
                  <a:pt x="199244" y="8372"/>
                </a:lnTo>
                <a:lnTo>
                  <a:pt x="199244" y="0"/>
                </a:lnTo>
                <a:lnTo>
                  <a:pt x="199020" y="0"/>
                </a:lnTo>
                <a:lnTo>
                  <a:pt x="199020" y="8372"/>
                </a:lnTo>
                <a:lnTo>
                  <a:pt x="190593" y="8372"/>
                </a:lnTo>
                <a:lnTo>
                  <a:pt x="190593" y="0"/>
                </a:lnTo>
                <a:lnTo>
                  <a:pt x="190370" y="0"/>
                </a:lnTo>
                <a:lnTo>
                  <a:pt x="190370" y="8372"/>
                </a:lnTo>
                <a:lnTo>
                  <a:pt x="181942" y="8372"/>
                </a:lnTo>
                <a:lnTo>
                  <a:pt x="181942" y="0"/>
                </a:lnTo>
                <a:lnTo>
                  <a:pt x="181719" y="0"/>
                </a:lnTo>
                <a:lnTo>
                  <a:pt x="181719" y="8372"/>
                </a:lnTo>
                <a:lnTo>
                  <a:pt x="173292" y="8372"/>
                </a:lnTo>
                <a:lnTo>
                  <a:pt x="173292" y="0"/>
                </a:lnTo>
                <a:lnTo>
                  <a:pt x="173069" y="0"/>
                </a:lnTo>
                <a:lnTo>
                  <a:pt x="173069" y="8372"/>
                </a:lnTo>
                <a:lnTo>
                  <a:pt x="164641" y="8372"/>
                </a:lnTo>
                <a:lnTo>
                  <a:pt x="164641" y="0"/>
                </a:lnTo>
                <a:lnTo>
                  <a:pt x="164418" y="0"/>
                </a:lnTo>
                <a:lnTo>
                  <a:pt x="164418" y="8372"/>
                </a:lnTo>
                <a:lnTo>
                  <a:pt x="155990" y="8372"/>
                </a:lnTo>
                <a:lnTo>
                  <a:pt x="155990" y="0"/>
                </a:lnTo>
                <a:lnTo>
                  <a:pt x="155767" y="0"/>
                </a:lnTo>
                <a:lnTo>
                  <a:pt x="155767" y="8372"/>
                </a:lnTo>
                <a:lnTo>
                  <a:pt x="147340" y="8372"/>
                </a:lnTo>
                <a:lnTo>
                  <a:pt x="147340" y="0"/>
                </a:lnTo>
                <a:lnTo>
                  <a:pt x="147117" y="0"/>
                </a:lnTo>
                <a:lnTo>
                  <a:pt x="147117" y="8372"/>
                </a:lnTo>
                <a:lnTo>
                  <a:pt x="138633" y="8372"/>
                </a:lnTo>
                <a:lnTo>
                  <a:pt x="138633" y="0"/>
                </a:lnTo>
                <a:lnTo>
                  <a:pt x="138410" y="0"/>
                </a:lnTo>
                <a:lnTo>
                  <a:pt x="138410" y="8372"/>
                </a:lnTo>
                <a:lnTo>
                  <a:pt x="129983" y="8372"/>
                </a:lnTo>
                <a:lnTo>
                  <a:pt x="129983" y="0"/>
                </a:lnTo>
                <a:lnTo>
                  <a:pt x="129760" y="0"/>
                </a:lnTo>
                <a:lnTo>
                  <a:pt x="129760" y="8372"/>
                </a:lnTo>
                <a:lnTo>
                  <a:pt x="121332" y="8372"/>
                </a:lnTo>
                <a:lnTo>
                  <a:pt x="121332" y="0"/>
                </a:lnTo>
                <a:lnTo>
                  <a:pt x="121109" y="0"/>
                </a:lnTo>
                <a:lnTo>
                  <a:pt x="121109" y="8372"/>
                </a:lnTo>
                <a:lnTo>
                  <a:pt x="112681" y="8372"/>
                </a:lnTo>
                <a:lnTo>
                  <a:pt x="112681" y="0"/>
                </a:lnTo>
                <a:lnTo>
                  <a:pt x="112458" y="0"/>
                </a:lnTo>
                <a:lnTo>
                  <a:pt x="112458" y="8372"/>
                </a:lnTo>
                <a:lnTo>
                  <a:pt x="104031" y="8372"/>
                </a:lnTo>
                <a:lnTo>
                  <a:pt x="104031" y="0"/>
                </a:lnTo>
                <a:lnTo>
                  <a:pt x="103808" y="0"/>
                </a:lnTo>
                <a:lnTo>
                  <a:pt x="103808" y="8372"/>
                </a:lnTo>
                <a:lnTo>
                  <a:pt x="95380" y="8372"/>
                </a:lnTo>
                <a:lnTo>
                  <a:pt x="95380" y="0"/>
                </a:lnTo>
                <a:lnTo>
                  <a:pt x="95157" y="0"/>
                </a:lnTo>
                <a:lnTo>
                  <a:pt x="95157" y="8372"/>
                </a:lnTo>
                <a:lnTo>
                  <a:pt x="86730" y="8372"/>
                </a:lnTo>
                <a:lnTo>
                  <a:pt x="86730" y="0"/>
                </a:lnTo>
                <a:lnTo>
                  <a:pt x="86506" y="0"/>
                </a:lnTo>
                <a:lnTo>
                  <a:pt x="86506" y="8372"/>
                </a:lnTo>
                <a:lnTo>
                  <a:pt x="78023" y="8372"/>
                </a:lnTo>
                <a:lnTo>
                  <a:pt x="78023" y="0"/>
                </a:lnTo>
                <a:lnTo>
                  <a:pt x="77800" y="0"/>
                </a:lnTo>
                <a:lnTo>
                  <a:pt x="77800" y="8372"/>
                </a:lnTo>
                <a:lnTo>
                  <a:pt x="69373" y="8372"/>
                </a:lnTo>
                <a:lnTo>
                  <a:pt x="69373" y="0"/>
                </a:lnTo>
                <a:lnTo>
                  <a:pt x="69149" y="0"/>
                </a:lnTo>
                <a:lnTo>
                  <a:pt x="69149" y="8372"/>
                </a:lnTo>
                <a:lnTo>
                  <a:pt x="60722" y="8372"/>
                </a:lnTo>
                <a:lnTo>
                  <a:pt x="60722" y="0"/>
                </a:lnTo>
                <a:lnTo>
                  <a:pt x="60499" y="0"/>
                </a:lnTo>
                <a:lnTo>
                  <a:pt x="60499" y="8372"/>
                </a:lnTo>
                <a:lnTo>
                  <a:pt x="52071" y="8372"/>
                </a:lnTo>
                <a:lnTo>
                  <a:pt x="52071" y="0"/>
                </a:lnTo>
                <a:lnTo>
                  <a:pt x="51848" y="0"/>
                </a:lnTo>
                <a:lnTo>
                  <a:pt x="51848" y="8372"/>
                </a:lnTo>
                <a:lnTo>
                  <a:pt x="43421" y="8372"/>
                </a:lnTo>
                <a:lnTo>
                  <a:pt x="43421" y="0"/>
                </a:lnTo>
                <a:lnTo>
                  <a:pt x="43197" y="0"/>
                </a:lnTo>
                <a:lnTo>
                  <a:pt x="43197" y="8372"/>
                </a:lnTo>
                <a:lnTo>
                  <a:pt x="34770" y="8372"/>
                </a:lnTo>
                <a:lnTo>
                  <a:pt x="34770" y="0"/>
                </a:lnTo>
                <a:lnTo>
                  <a:pt x="34547" y="0"/>
                </a:lnTo>
                <a:lnTo>
                  <a:pt x="34547" y="8372"/>
                </a:lnTo>
                <a:lnTo>
                  <a:pt x="26064" y="8372"/>
                </a:lnTo>
                <a:lnTo>
                  <a:pt x="26064" y="0"/>
                </a:lnTo>
                <a:lnTo>
                  <a:pt x="25840" y="0"/>
                </a:lnTo>
                <a:lnTo>
                  <a:pt x="25840" y="8372"/>
                </a:lnTo>
                <a:lnTo>
                  <a:pt x="17413" y="8372"/>
                </a:lnTo>
                <a:lnTo>
                  <a:pt x="17413" y="0"/>
                </a:lnTo>
                <a:lnTo>
                  <a:pt x="17190" y="0"/>
                </a:lnTo>
                <a:lnTo>
                  <a:pt x="17190" y="8372"/>
                </a:lnTo>
                <a:lnTo>
                  <a:pt x="8762" y="8372"/>
                </a:lnTo>
                <a:lnTo>
                  <a:pt x="8762" y="0"/>
                </a:lnTo>
                <a:close/>
              </a:path>
            </a:pathLst>
          </a:custGeom>
          <a:solidFill>
            <a:srgbClr val="00041C">
              <a:alpha val="1846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7" name="Google Shape;7;p1"/>
          <p:cNvSpPr txBox="1">
            <a:spLocks noGrp="1"/>
          </p:cNvSpPr>
          <p:nvPr>
            <p:ph type="title"/>
          </p:nvPr>
        </p:nvSpPr>
        <p:spPr>
          <a:xfrm>
            <a:off x="739675" y="535000"/>
            <a:ext cx="7686000" cy="11432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1pPr>
            <a:lvl2pPr lvl="1">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2pPr>
            <a:lvl3pPr lvl="2">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3pPr>
            <a:lvl4pPr lvl="3">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4pPr>
            <a:lvl5pPr lvl="4">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5pPr>
            <a:lvl6pPr lvl="5">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6pPr>
            <a:lvl7pPr lvl="6">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7pPr>
            <a:lvl8pPr lvl="7">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8pPr>
            <a:lvl9pPr lvl="8">
              <a:spcBef>
                <a:spcPts val="0"/>
              </a:spcBef>
              <a:spcAft>
                <a:spcPts val="0"/>
              </a:spcAft>
              <a:buClr>
                <a:schemeClr val="lt1"/>
              </a:buClr>
              <a:buSzPts val="3000"/>
              <a:buFont typeface="Titillium Web ExtraLight"/>
              <a:buNone/>
              <a:defRPr sz="3000">
                <a:solidFill>
                  <a:schemeClr val="lt1"/>
                </a:solidFill>
                <a:latin typeface="Titillium Web ExtraLight"/>
                <a:ea typeface="Titillium Web ExtraLight"/>
                <a:cs typeface="Titillium Web ExtraLight"/>
                <a:sym typeface="Titillium Web ExtraLight"/>
              </a:defRPr>
            </a:lvl9pPr>
          </a:lstStyle>
          <a:p>
            <a:endParaRPr/>
          </a:p>
        </p:txBody>
      </p:sp>
      <p:sp>
        <p:nvSpPr>
          <p:cNvPr id="8" name="Google Shape;8;p1"/>
          <p:cNvSpPr txBox="1">
            <a:spLocks noGrp="1"/>
          </p:cNvSpPr>
          <p:nvPr>
            <p:ph type="body" idx="1"/>
          </p:nvPr>
        </p:nvSpPr>
        <p:spPr>
          <a:xfrm>
            <a:off x="739680" y="1536704"/>
            <a:ext cx="7686000" cy="4131200"/>
          </a:xfrm>
          <a:prstGeom prst="rect">
            <a:avLst/>
          </a:prstGeom>
          <a:noFill/>
          <a:ln>
            <a:noFill/>
          </a:ln>
        </p:spPr>
        <p:txBody>
          <a:bodyPr spcFirstLastPara="1" wrap="square" lIns="91425" tIns="91425" rIns="91425" bIns="91425" anchor="t" anchorCtr="0">
            <a:noAutofit/>
          </a:bodyPr>
          <a:lstStyle>
            <a:lvl1pPr marL="457200" lvl="0" indent="-381000">
              <a:spcBef>
                <a:spcPts val="60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1pPr>
            <a:lvl2pPr marL="914400" lvl="1"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2pPr>
            <a:lvl3pPr marL="1371600" lvl="2"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3pPr>
            <a:lvl4pPr marL="1828800" lvl="3"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4pPr>
            <a:lvl5pPr marL="2286000" lvl="4"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5pPr>
            <a:lvl6pPr marL="2743200" lvl="5"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6pPr>
            <a:lvl7pPr marL="3200400" lvl="6"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7pPr>
            <a:lvl8pPr marL="3657600" lvl="7"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8pPr>
            <a:lvl9pPr marL="4114800" lvl="8" indent="-381000">
              <a:spcBef>
                <a:spcPts val="0"/>
              </a:spcBef>
              <a:spcAft>
                <a:spcPts val="0"/>
              </a:spcAft>
              <a:buClr>
                <a:srgbClr val="6E86B6"/>
              </a:buClr>
              <a:buSzPts val="2400"/>
              <a:buFont typeface="Titillium Web"/>
              <a:buChar char="■"/>
              <a:defRPr sz="2400">
                <a:solidFill>
                  <a:srgbClr val="FFFFFF"/>
                </a:solidFill>
                <a:latin typeface="Titillium Web"/>
                <a:ea typeface="Titillium Web"/>
                <a:cs typeface="Titillium Web"/>
                <a:sym typeface="Titillium Web"/>
              </a:defRPr>
            </a:lvl9pPr>
          </a:lstStyle>
          <a:p>
            <a:endParaRPr/>
          </a:p>
        </p:txBody>
      </p:sp>
      <p:sp>
        <p:nvSpPr>
          <p:cNvPr id="9" name="Google Shape;9;p1"/>
          <p:cNvSpPr txBox="1">
            <a:spLocks noGrp="1"/>
          </p:cNvSpPr>
          <p:nvPr>
            <p:ph type="sldNum" idx="12"/>
          </p:nvPr>
        </p:nvSpPr>
        <p:spPr>
          <a:xfrm>
            <a:off x="8586575" y="-15833"/>
            <a:ext cx="557400" cy="730400"/>
          </a:xfrm>
          <a:prstGeom prst="rect">
            <a:avLst/>
          </a:prstGeom>
          <a:noFill/>
          <a:ln>
            <a:noFill/>
          </a:ln>
        </p:spPr>
        <p:txBody>
          <a:bodyPr spcFirstLastPara="1" wrap="square" lIns="91425" tIns="91425" rIns="91425" bIns="91425" anchor="ctr" anchorCtr="0">
            <a:noAutofit/>
          </a:bodyPr>
          <a:lstStyle>
            <a:lvl1pPr lvl="0" algn="ctr">
              <a:buNone/>
              <a:defRPr>
                <a:solidFill>
                  <a:srgbClr val="FFFFFF"/>
                </a:solidFill>
                <a:latin typeface="Titillium Web"/>
                <a:ea typeface="Titillium Web"/>
                <a:cs typeface="Titillium Web"/>
                <a:sym typeface="Titillium Web"/>
              </a:defRPr>
            </a:lvl1pPr>
            <a:lvl2pPr lvl="1" algn="ctr">
              <a:buNone/>
              <a:defRPr>
                <a:solidFill>
                  <a:srgbClr val="FFFFFF"/>
                </a:solidFill>
                <a:latin typeface="Titillium Web"/>
                <a:ea typeface="Titillium Web"/>
                <a:cs typeface="Titillium Web"/>
                <a:sym typeface="Titillium Web"/>
              </a:defRPr>
            </a:lvl2pPr>
            <a:lvl3pPr lvl="2" algn="ctr">
              <a:buNone/>
              <a:defRPr>
                <a:solidFill>
                  <a:srgbClr val="FFFFFF"/>
                </a:solidFill>
                <a:latin typeface="Titillium Web"/>
                <a:ea typeface="Titillium Web"/>
                <a:cs typeface="Titillium Web"/>
                <a:sym typeface="Titillium Web"/>
              </a:defRPr>
            </a:lvl3pPr>
            <a:lvl4pPr lvl="3" algn="ctr">
              <a:buNone/>
              <a:defRPr>
                <a:solidFill>
                  <a:srgbClr val="FFFFFF"/>
                </a:solidFill>
                <a:latin typeface="Titillium Web"/>
                <a:ea typeface="Titillium Web"/>
                <a:cs typeface="Titillium Web"/>
                <a:sym typeface="Titillium Web"/>
              </a:defRPr>
            </a:lvl4pPr>
            <a:lvl5pPr lvl="4" algn="ctr">
              <a:buNone/>
              <a:defRPr>
                <a:solidFill>
                  <a:srgbClr val="FFFFFF"/>
                </a:solidFill>
                <a:latin typeface="Titillium Web"/>
                <a:ea typeface="Titillium Web"/>
                <a:cs typeface="Titillium Web"/>
                <a:sym typeface="Titillium Web"/>
              </a:defRPr>
            </a:lvl5pPr>
            <a:lvl6pPr lvl="5" algn="ctr">
              <a:buNone/>
              <a:defRPr>
                <a:solidFill>
                  <a:srgbClr val="FFFFFF"/>
                </a:solidFill>
                <a:latin typeface="Titillium Web"/>
                <a:ea typeface="Titillium Web"/>
                <a:cs typeface="Titillium Web"/>
                <a:sym typeface="Titillium Web"/>
              </a:defRPr>
            </a:lvl6pPr>
            <a:lvl7pPr lvl="6" algn="ctr">
              <a:buNone/>
              <a:defRPr>
                <a:solidFill>
                  <a:srgbClr val="FFFFFF"/>
                </a:solidFill>
                <a:latin typeface="Titillium Web"/>
                <a:ea typeface="Titillium Web"/>
                <a:cs typeface="Titillium Web"/>
                <a:sym typeface="Titillium Web"/>
              </a:defRPr>
            </a:lvl7pPr>
            <a:lvl8pPr lvl="7" algn="ctr">
              <a:buNone/>
              <a:defRPr>
                <a:solidFill>
                  <a:srgbClr val="FFFFFF"/>
                </a:solidFill>
                <a:latin typeface="Titillium Web"/>
                <a:ea typeface="Titillium Web"/>
                <a:cs typeface="Titillium Web"/>
                <a:sym typeface="Titillium Web"/>
              </a:defRPr>
            </a:lvl8pPr>
            <a:lvl9pPr lvl="8" algn="ctr">
              <a:buNone/>
              <a:defRPr>
                <a:solidFill>
                  <a:srgbClr val="FFFFFF"/>
                </a:solidFill>
                <a:latin typeface="Titillium Web"/>
                <a:ea typeface="Titillium Web"/>
                <a:cs typeface="Titillium Web"/>
                <a:sym typeface="Titillium Web"/>
              </a:defRPr>
            </a:lvl9pPr>
          </a:lstStyle>
          <a:p>
            <a:fld id="{00000000-1234-1234-1234-123412341234}" type="slidenum">
              <a:rPr lang="en" smtClean="0"/>
              <a:pPr/>
              <a:t>‹#›</a:t>
            </a:fld>
            <a:endParaRPr lang="en"/>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2" r:id="rId4"/>
    <p:sldLayoutId id="2147483655" r:id="rId5"/>
    <p:sldLayoutId id="2147483656" r:id="rId6"/>
    <p:sldLayoutId id="2147483658" r:id="rId7"/>
    <p:sldLayoutId id="2147483660" r:id="rId8"/>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hyperlink" Target="https://data.worldbank.org/indicator/EG.USE.PCAP.KG.OE?locations=SG-SE-MY" TargetMode="External"/><Relationship Id="rId3" Type="http://schemas.openxmlformats.org/officeDocument/2006/relationships/hyperlink" Target="https://www.iea.org/countries/singapore" TargetMode="External"/><Relationship Id="rId7" Type="http://schemas.openxmlformats.org/officeDocument/2006/relationships/hyperlink" Target="https://www.ema.gov.sg/singapore-energy-statistics/Ch01/index1"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www.ema.gov.sg/singapore-energy-statistics/Ch02/index2" TargetMode="External"/><Relationship Id="rId5" Type="http://schemas.openxmlformats.org/officeDocument/2006/relationships/hyperlink" Target="https://ourworldindata.org/grapher/low-carbon-share-energy?tab=chart&amp;country=~SGP" TargetMode="External"/><Relationship Id="rId4" Type="http://schemas.openxmlformats.org/officeDocument/2006/relationships/hyperlink" Target="https://flowcharts.llnl.gov/commodities/energy" TargetMode="External"/><Relationship Id="rId9" Type="http://schemas.openxmlformats.org/officeDocument/2006/relationships/hyperlink" Target="https://ourworldindata.org/grapher/energy-intensity?tab=chart&amp;country=~SGP"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78"/>
        <p:cNvGrpSpPr/>
        <p:nvPr/>
      </p:nvGrpSpPr>
      <p:grpSpPr>
        <a:xfrm>
          <a:off x="0" y="0"/>
          <a:ext cx="0" cy="0"/>
          <a:chOff x="0" y="0"/>
          <a:chExt cx="0" cy="0"/>
        </a:xfrm>
      </p:grpSpPr>
      <p:sp>
        <p:nvSpPr>
          <p:cNvPr id="779" name="Google Shape;779;p15"/>
          <p:cNvSpPr txBox="1">
            <a:spLocks noGrp="1"/>
          </p:cNvSpPr>
          <p:nvPr>
            <p:ph type="ctrTitle"/>
          </p:nvPr>
        </p:nvSpPr>
        <p:spPr>
          <a:xfrm>
            <a:off x="0" y="280657"/>
            <a:ext cx="7068528" cy="2661209"/>
          </a:xfrm>
          <a:prstGeom prst="rect">
            <a:avLst/>
          </a:prstGeom>
        </p:spPr>
        <p:txBody>
          <a:bodyPr spcFirstLastPara="1" wrap="square" lIns="121900" tIns="121900" rIns="121900" bIns="121900" anchor="t" anchorCtr="0">
            <a:noAutofit/>
          </a:bodyPr>
          <a:lstStyle/>
          <a:p>
            <a:r>
              <a:rPr lang="en-US" dirty="0"/>
              <a:t>Singapore Energy Profile</a:t>
            </a:r>
            <a:endParaRPr dirty="0"/>
          </a:p>
        </p:txBody>
      </p:sp>
      <p:sp>
        <p:nvSpPr>
          <p:cNvPr id="2" name="TextBox 1">
            <a:extLst>
              <a:ext uri="{FF2B5EF4-FFF2-40B4-BE49-F238E27FC236}">
                <a16:creationId xmlns:a16="http://schemas.microsoft.com/office/drawing/2014/main" id="{FC298633-8F5C-4939-864B-52FD5749E62D}"/>
              </a:ext>
            </a:extLst>
          </p:cNvPr>
          <p:cNvSpPr txBox="1"/>
          <p:nvPr/>
        </p:nvSpPr>
        <p:spPr>
          <a:xfrm>
            <a:off x="6503903" y="6519446"/>
            <a:ext cx="2876365" cy="338554"/>
          </a:xfrm>
          <a:prstGeom prst="rect">
            <a:avLst/>
          </a:prstGeom>
          <a:noFill/>
        </p:spPr>
        <p:txBody>
          <a:bodyPr wrap="square" rtlCol="0">
            <a:spAutoFit/>
          </a:bodyPr>
          <a:lstStyle/>
          <a:p>
            <a:r>
              <a:rPr lang="en-US" sz="1600" dirty="0">
                <a:solidFill>
                  <a:schemeClr val="accent6"/>
                </a:solidFill>
              </a:rPr>
              <a:t>By Kristina Ghahramanyan</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34C9882-6B83-48C2-95BA-A7155A9D810E}"/>
              </a:ext>
            </a:extLst>
          </p:cNvPr>
          <p:cNvPicPr>
            <a:picLocks noChangeAspect="1"/>
          </p:cNvPicPr>
          <p:nvPr/>
        </p:nvPicPr>
        <p:blipFill rotWithShape="1">
          <a:blip r:embed="rId2"/>
          <a:srcRect l="8906" t="8599" r="7425" b="3969"/>
          <a:stretch/>
        </p:blipFill>
        <p:spPr>
          <a:xfrm>
            <a:off x="5709137" y="1992922"/>
            <a:ext cx="3434862" cy="3048001"/>
          </a:xfrm>
          <a:prstGeom prst="rect">
            <a:avLst/>
          </a:prstGeom>
        </p:spPr>
      </p:pic>
      <p:sp>
        <p:nvSpPr>
          <p:cNvPr id="11" name="Rectangle 10">
            <a:extLst>
              <a:ext uri="{FF2B5EF4-FFF2-40B4-BE49-F238E27FC236}">
                <a16:creationId xmlns:a16="http://schemas.microsoft.com/office/drawing/2014/main" id="{B0D57ED0-BFCE-4131-8F10-E09C9AE7908F}"/>
              </a:ext>
            </a:extLst>
          </p:cNvPr>
          <p:cNvSpPr/>
          <p:nvPr/>
        </p:nvSpPr>
        <p:spPr>
          <a:xfrm>
            <a:off x="5709138" y="0"/>
            <a:ext cx="3434862" cy="202991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7F7F7"/>
              </a:solidFill>
            </a:endParaRPr>
          </a:p>
        </p:txBody>
      </p:sp>
      <p:sp>
        <p:nvSpPr>
          <p:cNvPr id="12" name="Rectangle 11">
            <a:extLst>
              <a:ext uri="{FF2B5EF4-FFF2-40B4-BE49-F238E27FC236}">
                <a16:creationId xmlns:a16="http://schemas.microsoft.com/office/drawing/2014/main" id="{91FAB9F0-373D-4279-8775-C010DC0B648C}"/>
              </a:ext>
            </a:extLst>
          </p:cNvPr>
          <p:cNvSpPr/>
          <p:nvPr/>
        </p:nvSpPr>
        <p:spPr>
          <a:xfrm>
            <a:off x="5709137" y="4934507"/>
            <a:ext cx="3434862" cy="192349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7F7F7"/>
              </a:solidFill>
            </a:endParaRPr>
          </a:p>
        </p:txBody>
      </p:sp>
      <p:sp>
        <p:nvSpPr>
          <p:cNvPr id="2" name="Slide Number Placeholder 1">
            <a:extLst>
              <a:ext uri="{FF2B5EF4-FFF2-40B4-BE49-F238E27FC236}">
                <a16:creationId xmlns:a16="http://schemas.microsoft.com/office/drawing/2014/main" id="{4C849DCB-0972-4ACD-A0B9-A53A793872DD}"/>
              </a:ext>
            </a:extLst>
          </p:cNvPr>
          <p:cNvSpPr>
            <a:spLocks noGrp="1"/>
          </p:cNvSpPr>
          <p:nvPr>
            <p:ph type="sldNum" idx="12"/>
          </p:nvPr>
        </p:nvSpPr>
        <p:spPr>
          <a:xfrm rot="10800000" flipV="1">
            <a:off x="8490764" y="0"/>
            <a:ext cx="1022383" cy="294756"/>
          </a:xfrm>
        </p:spPr>
        <p:txBody>
          <a:bodyPr/>
          <a:lstStyle/>
          <a:p>
            <a:fld id="{00000000-1234-1234-1234-123412341234}" type="slidenum">
              <a:rPr lang="en" smtClean="0">
                <a:solidFill>
                  <a:schemeClr val="tx1">
                    <a:lumMod val="50000"/>
                  </a:schemeClr>
                </a:solidFill>
              </a:rPr>
              <a:pPr/>
              <a:t>10</a:t>
            </a:fld>
            <a:endParaRPr lang="en" dirty="0">
              <a:solidFill>
                <a:schemeClr val="tx1">
                  <a:lumMod val="50000"/>
                </a:schemeClr>
              </a:solidFill>
            </a:endParaRPr>
          </a:p>
        </p:txBody>
      </p:sp>
      <p:pic>
        <p:nvPicPr>
          <p:cNvPr id="15" name="Picture 14" descr="Graphical user interface&#10;&#10;Description automatically generated">
            <a:extLst>
              <a:ext uri="{FF2B5EF4-FFF2-40B4-BE49-F238E27FC236}">
                <a16:creationId xmlns:a16="http://schemas.microsoft.com/office/drawing/2014/main" id="{D2632D4A-3735-4525-9346-605A53B6A26A}"/>
              </a:ext>
            </a:extLst>
          </p:cNvPr>
          <p:cNvPicPr>
            <a:picLocks noChangeAspect="1"/>
          </p:cNvPicPr>
          <p:nvPr/>
        </p:nvPicPr>
        <p:blipFill>
          <a:blip r:embed="rId3"/>
          <a:stretch>
            <a:fillRect/>
          </a:stretch>
        </p:blipFill>
        <p:spPr>
          <a:xfrm>
            <a:off x="-1" y="1144295"/>
            <a:ext cx="5339989" cy="5713705"/>
          </a:xfrm>
          <a:prstGeom prst="rect">
            <a:avLst/>
          </a:prstGeom>
        </p:spPr>
      </p:pic>
      <p:sp>
        <p:nvSpPr>
          <p:cNvPr id="16" name="Rectangle 15">
            <a:extLst>
              <a:ext uri="{FF2B5EF4-FFF2-40B4-BE49-F238E27FC236}">
                <a16:creationId xmlns:a16="http://schemas.microsoft.com/office/drawing/2014/main" id="{662878E7-F97A-4D92-BED2-614BE31DE0F0}"/>
              </a:ext>
            </a:extLst>
          </p:cNvPr>
          <p:cNvSpPr/>
          <p:nvPr/>
        </p:nvSpPr>
        <p:spPr>
          <a:xfrm>
            <a:off x="-1" y="0"/>
            <a:ext cx="5709138" cy="122511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7F7F7"/>
              </a:solidFill>
            </a:endParaRPr>
          </a:p>
        </p:txBody>
      </p:sp>
      <p:sp>
        <p:nvSpPr>
          <p:cNvPr id="17" name="Rectangle 16">
            <a:extLst>
              <a:ext uri="{FF2B5EF4-FFF2-40B4-BE49-F238E27FC236}">
                <a16:creationId xmlns:a16="http://schemas.microsoft.com/office/drawing/2014/main" id="{5BA98CCE-6972-477D-A3F9-C17A82FC7368}"/>
              </a:ext>
            </a:extLst>
          </p:cNvPr>
          <p:cNvSpPr/>
          <p:nvPr/>
        </p:nvSpPr>
        <p:spPr>
          <a:xfrm rot="5400000">
            <a:off x="2623230" y="3772095"/>
            <a:ext cx="5802663" cy="36914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7F7F7"/>
              </a:solidFill>
            </a:endParaRPr>
          </a:p>
        </p:txBody>
      </p:sp>
      <p:sp>
        <p:nvSpPr>
          <p:cNvPr id="13" name="Title 1">
            <a:extLst>
              <a:ext uri="{FF2B5EF4-FFF2-40B4-BE49-F238E27FC236}">
                <a16:creationId xmlns:a16="http://schemas.microsoft.com/office/drawing/2014/main" id="{C0FBFC1E-A7A3-4D80-9DF2-07A9F051A45B}"/>
              </a:ext>
            </a:extLst>
          </p:cNvPr>
          <p:cNvSpPr txBox="1">
            <a:spLocks/>
          </p:cNvSpPr>
          <p:nvPr/>
        </p:nvSpPr>
        <p:spPr>
          <a:xfrm>
            <a:off x="119351" y="-5022"/>
            <a:ext cx="5220636" cy="59955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ltLang="en-US" sz="2800" dirty="0"/>
              <a:t>Energy Architecture Performance of Singapore</a:t>
            </a:r>
          </a:p>
        </p:txBody>
      </p:sp>
      <p:sp>
        <p:nvSpPr>
          <p:cNvPr id="18" name="Title 1">
            <a:extLst>
              <a:ext uri="{FF2B5EF4-FFF2-40B4-BE49-F238E27FC236}">
                <a16:creationId xmlns:a16="http://schemas.microsoft.com/office/drawing/2014/main" id="{EC71937B-AB08-44AE-8200-62A296019C39}"/>
              </a:ext>
            </a:extLst>
          </p:cNvPr>
          <p:cNvSpPr txBox="1">
            <a:spLocks/>
          </p:cNvSpPr>
          <p:nvPr/>
        </p:nvSpPr>
        <p:spPr>
          <a:xfrm>
            <a:off x="5917849" y="1143383"/>
            <a:ext cx="2755634" cy="51327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ltLang="en-US" sz="2400" dirty="0"/>
              <a:t>Energy Trilemma</a:t>
            </a:r>
          </a:p>
        </p:txBody>
      </p:sp>
    </p:spTree>
    <p:extLst>
      <p:ext uri="{BB962C8B-B14F-4D97-AF65-F5344CB8AC3E}">
        <p14:creationId xmlns:p14="http://schemas.microsoft.com/office/powerpoint/2010/main" val="973009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05"/>
        <p:cNvGrpSpPr/>
        <p:nvPr/>
      </p:nvGrpSpPr>
      <p:grpSpPr>
        <a:xfrm>
          <a:off x="0" y="0"/>
          <a:ext cx="0" cy="0"/>
          <a:chOff x="0" y="0"/>
          <a:chExt cx="0" cy="0"/>
        </a:xfrm>
      </p:grpSpPr>
      <p:sp>
        <p:nvSpPr>
          <p:cNvPr id="906" name="Google Shape;906;p27"/>
          <p:cNvSpPr txBox="1">
            <a:spLocks noGrp="1"/>
          </p:cNvSpPr>
          <p:nvPr>
            <p:ph type="title"/>
          </p:nvPr>
        </p:nvSpPr>
        <p:spPr>
          <a:xfrm>
            <a:off x="3512476" y="262804"/>
            <a:ext cx="2119047" cy="730400"/>
          </a:xfrm>
          <a:prstGeom prst="rect">
            <a:avLst/>
          </a:prstGeom>
        </p:spPr>
        <p:txBody>
          <a:bodyPr spcFirstLastPara="1" wrap="square" lIns="121900" tIns="121900" rIns="121900" bIns="121900" anchor="b" anchorCtr="0">
            <a:noAutofit/>
          </a:bodyPr>
          <a:lstStyle/>
          <a:p>
            <a:r>
              <a:rPr lang="en" dirty="0"/>
              <a:t>References:</a:t>
            </a:r>
            <a:endParaRPr dirty="0"/>
          </a:p>
        </p:txBody>
      </p:sp>
      <p:sp>
        <p:nvSpPr>
          <p:cNvPr id="908" name="Google Shape;908;p27"/>
          <p:cNvSpPr txBox="1">
            <a:spLocks noGrp="1"/>
          </p:cNvSpPr>
          <p:nvPr>
            <p:ph type="sldNum" idx="12"/>
          </p:nvPr>
        </p:nvSpPr>
        <p:spPr>
          <a:xfrm>
            <a:off x="8637505" y="-175631"/>
            <a:ext cx="743200" cy="730400"/>
          </a:xfrm>
          <a:prstGeom prst="rect">
            <a:avLst/>
          </a:prstGeom>
        </p:spPr>
        <p:txBody>
          <a:bodyPr spcFirstLastPara="1" wrap="square" lIns="121900" tIns="121900" rIns="121900" bIns="121900" anchor="ctr" anchorCtr="0">
            <a:noAutofit/>
          </a:bodyPr>
          <a:lstStyle/>
          <a:p>
            <a:fld id="{00000000-1234-1234-1234-123412341234}" type="slidenum">
              <a:rPr lang="en"/>
              <a:pPr/>
              <a:t>11</a:t>
            </a:fld>
            <a:endParaRPr dirty="0"/>
          </a:p>
        </p:txBody>
      </p:sp>
      <p:sp>
        <p:nvSpPr>
          <p:cNvPr id="2" name="TextBox 1">
            <a:extLst>
              <a:ext uri="{FF2B5EF4-FFF2-40B4-BE49-F238E27FC236}">
                <a16:creationId xmlns:a16="http://schemas.microsoft.com/office/drawing/2014/main" id="{87DA0661-C2E0-4D4E-A17A-BCCD735E6BC0}"/>
              </a:ext>
            </a:extLst>
          </p:cNvPr>
          <p:cNvSpPr txBox="1"/>
          <p:nvPr/>
        </p:nvSpPr>
        <p:spPr>
          <a:xfrm>
            <a:off x="1" y="1518082"/>
            <a:ext cx="9144000" cy="3308598"/>
          </a:xfrm>
          <a:prstGeom prst="rect">
            <a:avLst/>
          </a:prstGeom>
          <a:noFill/>
        </p:spPr>
        <p:txBody>
          <a:bodyPr wrap="square" rtlCol="0">
            <a:spAutoFit/>
          </a:bodyPr>
          <a:lstStyle/>
          <a:p>
            <a:r>
              <a:rPr lang="en-US" sz="1100" dirty="0">
                <a:solidFill>
                  <a:schemeClr val="bg1"/>
                </a:solidFill>
              </a:rPr>
              <a:t>Charts 1, 2 retrieved from: </a:t>
            </a:r>
            <a:r>
              <a:rPr lang="en-US" sz="1100" dirty="0">
                <a:solidFill>
                  <a:schemeClr val="bg1"/>
                </a:solidFill>
                <a:hlinkClick r:id="rId3"/>
              </a:rPr>
              <a:t>https://www.iea.org/countries/singapore</a:t>
            </a:r>
            <a:r>
              <a:rPr lang="en-US" sz="1100" dirty="0">
                <a:solidFill>
                  <a:schemeClr val="bg1"/>
                </a:solidFill>
              </a:rPr>
              <a:t> </a:t>
            </a:r>
            <a:r>
              <a:rPr lang="en-US" sz="800" dirty="0">
                <a:solidFill>
                  <a:schemeClr val="bg1"/>
                </a:solidFill>
              </a:rPr>
              <a:t>Energy topic: Energy supply. Indicator: </a:t>
            </a:r>
            <a:r>
              <a:rPr lang="en-US" sz="800" b="1" dirty="0">
                <a:solidFill>
                  <a:schemeClr val="bg1"/>
                </a:solidFill>
              </a:rPr>
              <a:t>Total energy supply (TES) by source</a:t>
            </a:r>
          </a:p>
          <a:p>
            <a:endParaRPr lang="en-US" sz="1100" dirty="0">
              <a:solidFill>
                <a:schemeClr val="bg1"/>
              </a:solidFill>
            </a:endParaRPr>
          </a:p>
          <a:p>
            <a:r>
              <a:rPr lang="en-US" sz="1100" dirty="0">
                <a:solidFill>
                  <a:schemeClr val="bg1"/>
                </a:solidFill>
              </a:rPr>
              <a:t>Chart 3 retrieved from: </a:t>
            </a:r>
            <a:r>
              <a:rPr lang="en-US" sz="1100" dirty="0">
                <a:solidFill>
                  <a:schemeClr val="bg1"/>
                </a:solidFill>
                <a:hlinkClick r:id="rId3"/>
              </a:rPr>
              <a:t>https://www.iea.org/countries/singapore</a:t>
            </a:r>
            <a:r>
              <a:rPr lang="en-US" sz="1100" dirty="0">
                <a:solidFill>
                  <a:schemeClr val="bg1"/>
                </a:solidFill>
              </a:rPr>
              <a:t> </a:t>
            </a:r>
            <a:r>
              <a:rPr lang="en-US" sz="800" dirty="0">
                <a:solidFill>
                  <a:schemeClr val="bg1"/>
                </a:solidFill>
              </a:rPr>
              <a:t>Energy topic: Energy consumption. Indicator: </a:t>
            </a:r>
            <a:r>
              <a:rPr lang="en-US" sz="800" b="1" dirty="0">
                <a:solidFill>
                  <a:schemeClr val="bg1"/>
                </a:solidFill>
              </a:rPr>
              <a:t>Electricity final consumption by sector</a:t>
            </a:r>
          </a:p>
          <a:p>
            <a:endParaRPr lang="en-US" sz="1100" dirty="0">
              <a:solidFill>
                <a:schemeClr val="bg1"/>
              </a:solidFill>
            </a:endParaRPr>
          </a:p>
          <a:p>
            <a:r>
              <a:rPr lang="en-US" sz="1100" dirty="0">
                <a:solidFill>
                  <a:schemeClr val="bg1"/>
                </a:solidFill>
              </a:rPr>
              <a:t>Charts 4, 5 retrieved from: </a:t>
            </a:r>
            <a:r>
              <a:rPr lang="en-US" sz="1100" dirty="0">
                <a:solidFill>
                  <a:schemeClr val="bg1"/>
                </a:solidFill>
                <a:hlinkClick r:id="rId4"/>
              </a:rPr>
              <a:t>https://flowcharts.llnl.gov/commodities/energy</a:t>
            </a:r>
            <a:r>
              <a:rPr lang="en-US" sz="1100" dirty="0">
                <a:solidFill>
                  <a:schemeClr val="bg1"/>
                </a:solidFill>
              </a:rPr>
              <a:t> </a:t>
            </a:r>
          </a:p>
          <a:p>
            <a:endParaRPr lang="en-US" sz="1100" dirty="0">
              <a:solidFill>
                <a:schemeClr val="bg1"/>
              </a:solidFill>
            </a:endParaRPr>
          </a:p>
          <a:p>
            <a:r>
              <a:rPr lang="en-US" sz="1100" dirty="0">
                <a:solidFill>
                  <a:schemeClr val="bg1"/>
                </a:solidFill>
              </a:rPr>
              <a:t>Chart 6 retrieved from: </a:t>
            </a:r>
            <a:r>
              <a:rPr lang="en-US" sz="1100" dirty="0">
                <a:solidFill>
                  <a:schemeClr val="bg1"/>
                </a:solidFill>
                <a:hlinkClick r:id="rId5"/>
              </a:rPr>
              <a:t>https://ourworldindata.org/grapher/low-carbon-share-energy?tab=chart&amp;country=~SGP</a:t>
            </a:r>
            <a:r>
              <a:rPr lang="en-US" sz="1100" dirty="0">
                <a:solidFill>
                  <a:schemeClr val="bg1"/>
                </a:solidFill>
              </a:rPr>
              <a:t> </a:t>
            </a:r>
          </a:p>
          <a:p>
            <a:endParaRPr lang="en-US" sz="1100" dirty="0">
              <a:solidFill>
                <a:schemeClr val="bg1"/>
              </a:solidFill>
            </a:endParaRPr>
          </a:p>
          <a:p>
            <a:r>
              <a:rPr lang="en-US" sz="1100" dirty="0">
                <a:solidFill>
                  <a:schemeClr val="bg1"/>
                </a:solidFill>
              </a:rPr>
              <a:t>Chart 7 retrieved from: </a:t>
            </a:r>
            <a:r>
              <a:rPr lang="en-US" sz="1100" dirty="0">
                <a:solidFill>
                  <a:schemeClr val="bg1"/>
                </a:solidFill>
                <a:hlinkClick r:id="rId3"/>
              </a:rPr>
              <a:t>https://www.iea.org/countries/singapore</a:t>
            </a:r>
            <a:r>
              <a:rPr lang="en-US" sz="800" dirty="0">
                <a:solidFill>
                  <a:schemeClr val="bg1"/>
                </a:solidFill>
              </a:rPr>
              <a:t>) Energy topic: Renewables and waste. Indicator: Renewable electricity generation by source (non-combustible)</a:t>
            </a:r>
          </a:p>
          <a:p>
            <a:endParaRPr lang="en-US" sz="1100" dirty="0">
              <a:solidFill>
                <a:schemeClr val="bg1"/>
              </a:solidFill>
            </a:endParaRPr>
          </a:p>
          <a:p>
            <a:r>
              <a:rPr lang="en-US" sz="1100" dirty="0">
                <a:solidFill>
                  <a:schemeClr val="bg1"/>
                </a:solidFill>
              </a:rPr>
              <a:t>Chart 8 retrieved from: </a:t>
            </a:r>
            <a:r>
              <a:rPr lang="en-US" sz="1100" dirty="0">
                <a:solidFill>
                  <a:schemeClr val="bg1"/>
                </a:solidFill>
                <a:hlinkClick r:id="rId6"/>
              </a:rPr>
              <a:t>https://www.ema.gov.sg/singapore-energy-statistics/Ch02/index2</a:t>
            </a:r>
            <a:r>
              <a:rPr lang="en-US" sz="1100" dirty="0">
                <a:solidFill>
                  <a:schemeClr val="bg1"/>
                </a:solidFill>
              </a:rPr>
              <a:t> </a:t>
            </a:r>
          </a:p>
          <a:p>
            <a:r>
              <a:rPr lang="en-US" sz="1100" dirty="0">
                <a:solidFill>
                  <a:schemeClr val="bg1"/>
                </a:solidFill>
              </a:rPr>
              <a:t> </a:t>
            </a:r>
          </a:p>
          <a:p>
            <a:r>
              <a:rPr lang="en-US" sz="1100" dirty="0">
                <a:solidFill>
                  <a:schemeClr val="bg1"/>
                </a:solidFill>
              </a:rPr>
              <a:t>Charts 9, 10 retrieved from: </a:t>
            </a:r>
            <a:r>
              <a:rPr lang="en-US" sz="1100" dirty="0">
                <a:solidFill>
                  <a:schemeClr val="bg1"/>
                </a:solidFill>
                <a:hlinkClick r:id="rId7"/>
              </a:rPr>
              <a:t>https://www.ema.gov.sg/singapore-energy-statistics/Ch01/index1</a:t>
            </a:r>
            <a:r>
              <a:rPr lang="en-US" sz="1100" dirty="0">
                <a:solidFill>
                  <a:schemeClr val="bg1"/>
                </a:solidFill>
              </a:rPr>
              <a:t> </a:t>
            </a:r>
          </a:p>
          <a:p>
            <a:endParaRPr lang="en-US" sz="1100" dirty="0">
              <a:solidFill>
                <a:schemeClr val="bg1"/>
              </a:solidFill>
            </a:endParaRPr>
          </a:p>
          <a:p>
            <a:r>
              <a:rPr lang="en-US" sz="1100" dirty="0">
                <a:solidFill>
                  <a:schemeClr val="bg1"/>
                </a:solidFill>
              </a:rPr>
              <a:t>Chart 11 retrieved from: </a:t>
            </a:r>
            <a:r>
              <a:rPr lang="en-US" sz="1100" dirty="0">
                <a:solidFill>
                  <a:schemeClr val="bg1"/>
                </a:solidFill>
                <a:hlinkClick r:id="rId8"/>
              </a:rPr>
              <a:t>https://data.worldbank.org/indicator/EG.USE.PCAP.KG.OE?locations=SG-SE-MY</a:t>
            </a:r>
            <a:r>
              <a:rPr lang="en-US" sz="1100" dirty="0">
                <a:solidFill>
                  <a:schemeClr val="bg1"/>
                </a:solidFill>
              </a:rPr>
              <a:t> </a:t>
            </a:r>
          </a:p>
          <a:p>
            <a:endParaRPr lang="en-US" sz="1100" dirty="0">
              <a:solidFill>
                <a:schemeClr val="bg1"/>
              </a:solidFill>
            </a:endParaRPr>
          </a:p>
          <a:p>
            <a:r>
              <a:rPr lang="en-US" sz="1100" dirty="0">
                <a:solidFill>
                  <a:schemeClr val="bg1"/>
                </a:solidFill>
              </a:rPr>
              <a:t>Chart 12 retrieved from: </a:t>
            </a:r>
            <a:r>
              <a:rPr lang="en-US" sz="1100" dirty="0">
                <a:solidFill>
                  <a:schemeClr val="bg1"/>
                </a:solidFill>
                <a:hlinkClick r:id="rId9"/>
              </a:rPr>
              <a:t>https://ourworldindata.org/grapher/energy-intensity?tab=chart&amp;country=~SGP</a:t>
            </a:r>
            <a:r>
              <a:rPr lang="en-US" sz="1100" dirty="0">
                <a:solidFill>
                  <a:schemeClr val="bg1"/>
                </a:solidFill>
              </a:rPr>
              <a:t> </a:t>
            </a:r>
            <a:endParaRPr lang="en-US" dirty="0">
              <a:solidFill>
                <a:schemeClr val="bg1"/>
              </a:solidFill>
            </a:endParaRPr>
          </a:p>
          <a:p>
            <a:endParaRPr lang="en-US" dirty="0">
              <a:solidFill>
                <a:schemeClr val="bg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92"/>
        <p:cNvGrpSpPr/>
        <p:nvPr/>
      </p:nvGrpSpPr>
      <p:grpSpPr>
        <a:xfrm>
          <a:off x="0" y="0"/>
          <a:ext cx="0" cy="0"/>
          <a:chOff x="0" y="0"/>
          <a:chExt cx="0" cy="0"/>
        </a:xfrm>
      </p:grpSpPr>
      <p:sp>
        <p:nvSpPr>
          <p:cNvPr id="793" name="Google Shape;793;p17"/>
          <p:cNvSpPr txBox="1">
            <a:spLocks noGrp="1"/>
          </p:cNvSpPr>
          <p:nvPr>
            <p:ph type="title"/>
          </p:nvPr>
        </p:nvSpPr>
        <p:spPr>
          <a:xfrm>
            <a:off x="5156833" y="0"/>
            <a:ext cx="3879792" cy="989835"/>
          </a:xfrm>
          <a:prstGeom prst="rect">
            <a:avLst/>
          </a:prstGeom>
        </p:spPr>
        <p:txBody>
          <a:bodyPr spcFirstLastPara="1" wrap="square" lIns="121900" tIns="121900" rIns="121900" bIns="121900" anchor="t" anchorCtr="0">
            <a:noAutofit/>
          </a:bodyPr>
          <a:lstStyle/>
          <a:p>
            <a:r>
              <a:rPr lang="en-US" sz="4000" dirty="0">
                <a:latin typeface="+mj-lt"/>
              </a:rPr>
              <a:t>Country Profile</a:t>
            </a:r>
            <a:endParaRPr sz="4000" dirty="0">
              <a:latin typeface="+mj-lt"/>
            </a:endParaRPr>
          </a:p>
        </p:txBody>
      </p:sp>
      <p:sp>
        <p:nvSpPr>
          <p:cNvPr id="794" name="Google Shape;794;p17"/>
          <p:cNvSpPr txBox="1">
            <a:spLocks noGrp="1"/>
          </p:cNvSpPr>
          <p:nvPr>
            <p:ph type="body" idx="1"/>
          </p:nvPr>
        </p:nvSpPr>
        <p:spPr>
          <a:xfrm>
            <a:off x="5049458" y="851026"/>
            <a:ext cx="4094542" cy="5535299"/>
          </a:xfrm>
          <a:prstGeom prst="rect">
            <a:avLst/>
          </a:prstGeom>
        </p:spPr>
        <p:txBody>
          <a:bodyPr spcFirstLastPara="1" wrap="square" lIns="121900" tIns="121900" rIns="121900" bIns="121900" anchor="t" anchorCtr="0">
            <a:noAutofit/>
          </a:bodyPr>
          <a:lstStyle/>
          <a:p>
            <a:pPr marL="0" indent="0">
              <a:buNone/>
            </a:pPr>
            <a:r>
              <a:rPr lang="en-US" sz="2000" dirty="0"/>
              <a:t>In 2019, the total population of Singapore was approximately 5.7 million inhabitants.</a:t>
            </a:r>
          </a:p>
          <a:p>
            <a:pPr marL="0" indent="0">
              <a:buNone/>
            </a:pPr>
            <a:r>
              <a:rPr lang="en-US" sz="2000" dirty="0"/>
              <a:t>The Gross Domestic Product (GDP) in Singapore was worth 372.06 billion US dollars in 2019, according to official data from the World Bank.</a:t>
            </a:r>
          </a:p>
          <a:p>
            <a:pPr marL="0" indent="0">
              <a:buNone/>
            </a:pPr>
            <a:r>
              <a:rPr lang="en-US" sz="2000" dirty="0"/>
              <a:t>Temperatures in Singapore are quite uniform, the average temperature is 28 °C.</a:t>
            </a:r>
          </a:p>
          <a:p>
            <a:pPr marL="0" indent="0">
              <a:buNone/>
            </a:pPr>
            <a:r>
              <a:rPr lang="en-US" sz="2000" dirty="0"/>
              <a:t>Buses are, by far, the most common form of public transportation in Singapore, followed by the MRT(Mass Rapid Transit) and taxis, respectively.</a:t>
            </a:r>
            <a:endParaRPr sz="2000" dirty="0"/>
          </a:p>
        </p:txBody>
      </p:sp>
      <p:pic>
        <p:nvPicPr>
          <p:cNvPr id="11" name="Picture 10" descr="Map&#10;&#10;Description automatically generated">
            <a:extLst>
              <a:ext uri="{FF2B5EF4-FFF2-40B4-BE49-F238E27FC236}">
                <a16:creationId xmlns:a16="http://schemas.microsoft.com/office/drawing/2014/main" id="{D04EEB69-4A82-4662-AB9D-372CB10D9BED}"/>
              </a:ext>
            </a:extLst>
          </p:cNvPr>
          <p:cNvPicPr>
            <a:picLocks noChangeAspect="1"/>
          </p:cNvPicPr>
          <p:nvPr/>
        </p:nvPicPr>
        <p:blipFill>
          <a:blip r:embed="rId3"/>
          <a:stretch>
            <a:fillRect/>
          </a:stretch>
        </p:blipFill>
        <p:spPr>
          <a:xfrm>
            <a:off x="47488" y="1633491"/>
            <a:ext cx="4911775" cy="3626075"/>
          </a:xfrm>
          <a:prstGeom prst="rect">
            <a:avLst/>
          </a:prstGeom>
        </p:spPr>
      </p:pic>
      <p:sp>
        <p:nvSpPr>
          <p:cNvPr id="6" name="Google Shape;835;p21">
            <a:extLst>
              <a:ext uri="{FF2B5EF4-FFF2-40B4-BE49-F238E27FC236}">
                <a16:creationId xmlns:a16="http://schemas.microsoft.com/office/drawing/2014/main" id="{5C9839F9-E2B4-4056-80F8-81AD84B200EA}"/>
              </a:ext>
            </a:extLst>
          </p:cNvPr>
          <p:cNvSpPr txBox="1">
            <a:spLocks/>
          </p:cNvSpPr>
          <p:nvPr/>
        </p:nvSpPr>
        <p:spPr>
          <a:xfrm>
            <a:off x="8839201" y="0"/>
            <a:ext cx="304800" cy="363415"/>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1pPr>
            <a:lvl2pPr marR="0" lvl="1"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2pPr>
            <a:lvl3pPr marR="0" lvl="2"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3pPr>
            <a:lvl4pPr marR="0" lvl="3"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4pPr>
            <a:lvl5pPr marR="0" lvl="4"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5pPr>
            <a:lvl6pPr marR="0" lvl="5"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6pPr>
            <a:lvl7pPr marR="0" lvl="6"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7pPr>
            <a:lvl8pPr marR="0" lvl="7"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8pPr>
            <a:lvl9pPr marR="0" lvl="8"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9pPr>
          </a:lstStyle>
          <a:p>
            <a:fld id="{00000000-1234-1234-1234-123412341234}" type="slidenum">
              <a:rPr lang="en" smtClean="0"/>
              <a:pPr/>
              <a:t>2</a:t>
            </a:fld>
            <a:endParaRPr lang="en" dirty="0"/>
          </a:p>
        </p:txBody>
      </p:sp>
      <p:sp>
        <p:nvSpPr>
          <p:cNvPr id="2" name="TextBox 1">
            <a:extLst>
              <a:ext uri="{FF2B5EF4-FFF2-40B4-BE49-F238E27FC236}">
                <a16:creationId xmlns:a16="http://schemas.microsoft.com/office/drawing/2014/main" id="{653DDDC5-876E-4D94-BD6B-B0B0010D1E43}"/>
              </a:ext>
            </a:extLst>
          </p:cNvPr>
          <p:cNvSpPr txBox="1"/>
          <p:nvPr/>
        </p:nvSpPr>
        <p:spPr>
          <a:xfrm>
            <a:off x="-1" y="5259566"/>
            <a:ext cx="4094541" cy="215444"/>
          </a:xfrm>
          <a:prstGeom prst="rect">
            <a:avLst/>
          </a:prstGeom>
          <a:noFill/>
        </p:spPr>
        <p:txBody>
          <a:bodyPr wrap="square" rtlCol="0">
            <a:spAutoFit/>
          </a:bodyPr>
          <a:lstStyle/>
          <a:p>
            <a:r>
              <a:rPr lang="en-US" sz="800" dirty="0"/>
              <a:t>Source: https://www.mochilerosviajeros.com/mapa-de-singapur/singapur-mapa/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00"/>
        <p:cNvGrpSpPr/>
        <p:nvPr/>
      </p:nvGrpSpPr>
      <p:grpSpPr>
        <a:xfrm>
          <a:off x="0" y="0"/>
          <a:ext cx="0" cy="0"/>
          <a:chOff x="0" y="0"/>
          <a:chExt cx="0" cy="0"/>
        </a:xfrm>
      </p:grpSpPr>
      <p:sp>
        <p:nvSpPr>
          <p:cNvPr id="4" name="TextBox 3">
            <a:extLst>
              <a:ext uri="{FF2B5EF4-FFF2-40B4-BE49-F238E27FC236}">
                <a16:creationId xmlns:a16="http://schemas.microsoft.com/office/drawing/2014/main" id="{D2A05299-9B3B-44B7-A164-E7477821598F}"/>
              </a:ext>
            </a:extLst>
          </p:cNvPr>
          <p:cNvSpPr txBox="1"/>
          <p:nvPr/>
        </p:nvSpPr>
        <p:spPr>
          <a:xfrm>
            <a:off x="351940" y="4897766"/>
            <a:ext cx="8440120" cy="1600438"/>
          </a:xfrm>
          <a:prstGeom prst="rect">
            <a:avLst/>
          </a:prstGeom>
          <a:noFill/>
        </p:spPr>
        <p:txBody>
          <a:bodyPr wrap="square" rtlCol="0">
            <a:spAutoFit/>
          </a:bodyPr>
          <a:lstStyle/>
          <a:p>
            <a:r>
              <a:rPr lang="en-US" dirty="0">
                <a:solidFill>
                  <a:schemeClr val="bg1"/>
                </a:solidFill>
              </a:rPr>
              <a:t>The overall energy supply has been increasing with the approximately same rate from the year 2005</a:t>
            </a:r>
          </a:p>
          <a:p>
            <a:endParaRPr lang="en-US" dirty="0">
              <a:solidFill>
                <a:schemeClr val="bg1"/>
              </a:solidFill>
            </a:endParaRPr>
          </a:p>
          <a:p>
            <a:r>
              <a:rPr lang="en-US" dirty="0">
                <a:solidFill>
                  <a:schemeClr val="bg1"/>
                </a:solidFill>
              </a:rPr>
              <a:t>From the year 2015, Singapore has been consuming more than 700,000 tons of coal yearly, and the number is still increasing</a:t>
            </a:r>
          </a:p>
          <a:p>
            <a:endParaRPr lang="en-US" dirty="0">
              <a:solidFill>
                <a:schemeClr val="bg1"/>
              </a:solidFill>
            </a:endParaRPr>
          </a:p>
          <a:p>
            <a:r>
              <a:rPr lang="en-US" dirty="0">
                <a:solidFill>
                  <a:schemeClr val="bg1"/>
                </a:solidFill>
              </a:rPr>
              <a:t>Singapore began generating energy from renewable recourses in 2015, and still, the total supply accounts to less than 1%</a:t>
            </a:r>
          </a:p>
        </p:txBody>
      </p:sp>
      <p:graphicFrame>
        <p:nvGraphicFramePr>
          <p:cNvPr id="14" name="Chart 13">
            <a:extLst>
              <a:ext uri="{FF2B5EF4-FFF2-40B4-BE49-F238E27FC236}">
                <a16:creationId xmlns:a16="http://schemas.microsoft.com/office/drawing/2014/main" id="{E5D2D563-4C55-44D8-952C-CF627F5EED92}"/>
              </a:ext>
            </a:extLst>
          </p:cNvPr>
          <p:cNvGraphicFramePr>
            <a:graphicFrameLocks/>
          </p:cNvGraphicFramePr>
          <p:nvPr>
            <p:custDataLst>
              <p:tags r:id="rId1"/>
            </p:custDataLst>
            <p:extLst>
              <p:ext uri="{D42A27DB-BD31-4B8C-83A1-F6EECF244321}">
                <p14:modId xmlns:p14="http://schemas.microsoft.com/office/powerpoint/2010/main" val="4104967372"/>
              </p:ext>
            </p:extLst>
          </p:nvPr>
        </p:nvGraphicFramePr>
        <p:xfrm>
          <a:off x="351940" y="910682"/>
          <a:ext cx="5007711" cy="359852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CD5759CE-7545-42EC-9F76-3FD54B5337DB}"/>
              </a:ext>
            </a:extLst>
          </p:cNvPr>
          <p:cNvGraphicFramePr>
            <a:graphicFrameLocks/>
          </p:cNvGraphicFramePr>
          <p:nvPr>
            <p:custDataLst>
              <p:tags r:id="rId2"/>
            </p:custDataLst>
            <p:extLst>
              <p:ext uri="{D42A27DB-BD31-4B8C-83A1-F6EECF244321}">
                <p14:modId xmlns:p14="http://schemas.microsoft.com/office/powerpoint/2010/main" val="1261387968"/>
              </p:ext>
            </p:extLst>
          </p:nvPr>
        </p:nvGraphicFramePr>
        <p:xfrm>
          <a:off x="5529943" y="1573218"/>
          <a:ext cx="3262117" cy="2345639"/>
        </p:xfrm>
        <a:graphic>
          <a:graphicData uri="http://schemas.openxmlformats.org/drawingml/2006/chart">
            <c:chart xmlns:c="http://schemas.openxmlformats.org/drawingml/2006/chart" xmlns:r="http://schemas.openxmlformats.org/officeDocument/2006/relationships" r:id="rId6"/>
          </a:graphicData>
        </a:graphic>
      </p:graphicFrame>
      <p:sp>
        <p:nvSpPr>
          <p:cNvPr id="6" name="Google Shape;835;p21">
            <a:extLst>
              <a:ext uri="{FF2B5EF4-FFF2-40B4-BE49-F238E27FC236}">
                <a16:creationId xmlns:a16="http://schemas.microsoft.com/office/drawing/2014/main" id="{F7E691B2-AFB4-44C5-90CC-7B686D1D9C0A}"/>
              </a:ext>
            </a:extLst>
          </p:cNvPr>
          <p:cNvSpPr txBox="1">
            <a:spLocks noGrp="1"/>
          </p:cNvSpPr>
          <p:nvPr>
            <p:ph type="sldNum" idx="12"/>
          </p:nvPr>
        </p:nvSpPr>
        <p:spPr>
          <a:xfrm>
            <a:off x="8719740" y="-154374"/>
            <a:ext cx="557400" cy="730400"/>
          </a:xfrm>
          <a:prstGeom prst="rect">
            <a:avLst/>
          </a:prstGeom>
        </p:spPr>
        <p:txBody>
          <a:bodyPr spcFirstLastPara="1" wrap="square" lIns="121900" tIns="121900" rIns="121900" bIns="121900" anchor="ctr" anchorCtr="0">
            <a:noAutofit/>
          </a:bodyPr>
          <a:lstStyle/>
          <a:p>
            <a:fld id="{00000000-1234-1234-1234-123412341234}" type="slidenum">
              <a:rPr lang="en"/>
              <a:pPr/>
              <a:t>3</a:t>
            </a:fld>
            <a:endParaRPr dirty="0"/>
          </a:p>
        </p:txBody>
      </p:sp>
      <p:sp>
        <p:nvSpPr>
          <p:cNvPr id="2" name="TextBox 1">
            <a:extLst>
              <a:ext uri="{FF2B5EF4-FFF2-40B4-BE49-F238E27FC236}">
                <a16:creationId xmlns:a16="http://schemas.microsoft.com/office/drawing/2014/main" id="{5E3053A8-5245-4F26-92E1-D3F0520BDA52}"/>
              </a:ext>
            </a:extLst>
          </p:cNvPr>
          <p:cNvSpPr txBox="1"/>
          <p:nvPr/>
        </p:nvSpPr>
        <p:spPr>
          <a:xfrm>
            <a:off x="2161929" y="4509211"/>
            <a:ext cx="1387732" cy="261610"/>
          </a:xfrm>
          <a:prstGeom prst="rect">
            <a:avLst/>
          </a:prstGeom>
          <a:noFill/>
        </p:spPr>
        <p:txBody>
          <a:bodyPr wrap="square" rtlCol="0">
            <a:spAutoFit/>
          </a:bodyPr>
          <a:lstStyle/>
          <a:p>
            <a:pPr algn="ctr"/>
            <a:r>
              <a:rPr lang="en-US" sz="1100" dirty="0">
                <a:solidFill>
                  <a:schemeClr val="bg1"/>
                </a:solidFill>
              </a:rPr>
              <a:t>Chart 1</a:t>
            </a:r>
          </a:p>
        </p:txBody>
      </p:sp>
      <p:sp>
        <p:nvSpPr>
          <p:cNvPr id="7" name="TextBox 6">
            <a:extLst>
              <a:ext uri="{FF2B5EF4-FFF2-40B4-BE49-F238E27FC236}">
                <a16:creationId xmlns:a16="http://schemas.microsoft.com/office/drawing/2014/main" id="{B2986034-0DA1-48E8-AB43-170B3C493D14}"/>
              </a:ext>
            </a:extLst>
          </p:cNvPr>
          <p:cNvSpPr txBox="1"/>
          <p:nvPr/>
        </p:nvSpPr>
        <p:spPr>
          <a:xfrm>
            <a:off x="6467135" y="3904906"/>
            <a:ext cx="1387732" cy="261610"/>
          </a:xfrm>
          <a:prstGeom prst="rect">
            <a:avLst/>
          </a:prstGeom>
          <a:noFill/>
        </p:spPr>
        <p:txBody>
          <a:bodyPr wrap="square" rtlCol="0">
            <a:spAutoFit/>
          </a:bodyPr>
          <a:lstStyle/>
          <a:p>
            <a:pPr algn="ctr"/>
            <a:r>
              <a:rPr lang="en-US" sz="1100" dirty="0">
                <a:solidFill>
                  <a:schemeClr val="bg1"/>
                </a:solidFill>
              </a:rPr>
              <a:t>Chart 2</a:t>
            </a:r>
          </a:p>
        </p:txBody>
      </p:sp>
      <p:sp>
        <p:nvSpPr>
          <p:cNvPr id="8" name="Google Shape;793;p17">
            <a:extLst>
              <a:ext uri="{FF2B5EF4-FFF2-40B4-BE49-F238E27FC236}">
                <a16:creationId xmlns:a16="http://schemas.microsoft.com/office/drawing/2014/main" id="{A21CEA4D-6270-4FB0-B4CA-E29350A093FA}"/>
              </a:ext>
            </a:extLst>
          </p:cNvPr>
          <p:cNvSpPr txBox="1">
            <a:spLocks/>
          </p:cNvSpPr>
          <p:nvPr/>
        </p:nvSpPr>
        <p:spPr>
          <a:xfrm>
            <a:off x="1138707" y="-17755"/>
            <a:ext cx="6866585" cy="989835"/>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3600" dirty="0">
                <a:solidFill>
                  <a:schemeClr val="bg1"/>
                </a:solidFill>
              </a:rPr>
              <a:t>Electricity portfolio for Singapore</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06"/>
        <p:cNvGrpSpPr/>
        <p:nvPr/>
      </p:nvGrpSpPr>
      <p:grpSpPr>
        <a:xfrm>
          <a:off x="0" y="0"/>
          <a:ext cx="0" cy="0"/>
          <a:chOff x="0" y="0"/>
          <a:chExt cx="0" cy="0"/>
        </a:xfrm>
      </p:grpSpPr>
      <p:sp>
        <p:nvSpPr>
          <p:cNvPr id="6" name="TextBox 5">
            <a:extLst>
              <a:ext uri="{FF2B5EF4-FFF2-40B4-BE49-F238E27FC236}">
                <a16:creationId xmlns:a16="http://schemas.microsoft.com/office/drawing/2014/main" id="{FAAE641B-29E2-493D-9B7D-33259FE4D583}"/>
              </a:ext>
            </a:extLst>
          </p:cNvPr>
          <p:cNvSpPr txBox="1"/>
          <p:nvPr/>
        </p:nvSpPr>
        <p:spPr>
          <a:xfrm>
            <a:off x="0" y="963202"/>
            <a:ext cx="2974019" cy="5047536"/>
          </a:xfrm>
          <a:prstGeom prst="rect">
            <a:avLst/>
          </a:prstGeom>
          <a:noFill/>
        </p:spPr>
        <p:txBody>
          <a:bodyPr wrap="square" rtlCol="0">
            <a:spAutoFit/>
          </a:bodyPr>
          <a:lstStyle/>
          <a:p>
            <a:r>
              <a:rPr lang="en-US" dirty="0">
                <a:solidFill>
                  <a:schemeClr val="bg1"/>
                </a:solidFill>
              </a:rPr>
              <a:t>In the year 2018, Singapore’s commercial and public services consumed the largest amount of electricity with a share of around 55.1 percent, followed closely by industrial-related sectors. </a:t>
            </a:r>
          </a:p>
          <a:p>
            <a:endParaRPr lang="en-US" dirty="0">
              <a:solidFill>
                <a:schemeClr val="bg1"/>
              </a:solidFill>
            </a:endParaRPr>
          </a:p>
          <a:p>
            <a:r>
              <a:rPr lang="en-US" dirty="0">
                <a:solidFill>
                  <a:schemeClr val="bg1"/>
                </a:solidFill>
              </a:rPr>
              <a:t>In the same year, the amount of electricity consumed in Singapore reached about 50.5 thousand gigawatt hours. Singapore consumes a large amount of electricity to power the city's infrastructure and economy. </a:t>
            </a:r>
          </a:p>
          <a:p>
            <a:endParaRPr lang="en-US" dirty="0">
              <a:solidFill>
                <a:schemeClr val="bg1"/>
              </a:solidFill>
            </a:endParaRPr>
          </a:p>
          <a:p>
            <a:r>
              <a:rPr lang="en-US" dirty="0">
                <a:solidFill>
                  <a:schemeClr val="bg1"/>
                </a:solidFill>
              </a:rPr>
              <a:t>To better meet the demands of Singaporean consumers, in April 2018, the government launched the Open Electricity Market. This allowed households and businesses to decide from which retailer and at what price they wanted to buy their electricity. </a:t>
            </a:r>
          </a:p>
        </p:txBody>
      </p:sp>
      <p:sp>
        <p:nvSpPr>
          <p:cNvPr id="4" name="Google Shape;835;p21">
            <a:extLst>
              <a:ext uri="{FF2B5EF4-FFF2-40B4-BE49-F238E27FC236}">
                <a16:creationId xmlns:a16="http://schemas.microsoft.com/office/drawing/2014/main" id="{638C1B4E-C501-4BDF-9E59-3BBBF35596EA}"/>
              </a:ext>
            </a:extLst>
          </p:cNvPr>
          <p:cNvSpPr txBox="1">
            <a:spLocks noGrp="1"/>
          </p:cNvSpPr>
          <p:nvPr>
            <p:ph type="sldNum" idx="12"/>
          </p:nvPr>
        </p:nvSpPr>
        <p:spPr>
          <a:xfrm>
            <a:off x="8839201" y="0"/>
            <a:ext cx="304800" cy="363415"/>
          </a:xfrm>
          <a:prstGeom prst="rect">
            <a:avLst/>
          </a:prstGeom>
        </p:spPr>
        <p:txBody>
          <a:bodyPr spcFirstLastPara="1" wrap="square" lIns="121900" tIns="121900" rIns="121900" bIns="121900" anchor="ctr" anchorCtr="0">
            <a:noAutofit/>
          </a:bodyPr>
          <a:lstStyle/>
          <a:p>
            <a:fld id="{00000000-1234-1234-1234-123412341234}" type="slidenum">
              <a:rPr lang="en"/>
              <a:pPr/>
              <a:t>4</a:t>
            </a:fld>
            <a:endParaRPr dirty="0"/>
          </a:p>
        </p:txBody>
      </p:sp>
      <p:sp>
        <p:nvSpPr>
          <p:cNvPr id="5" name="TextBox 4">
            <a:extLst>
              <a:ext uri="{FF2B5EF4-FFF2-40B4-BE49-F238E27FC236}">
                <a16:creationId xmlns:a16="http://schemas.microsoft.com/office/drawing/2014/main" id="{F2FDF92B-BE12-426F-8EAD-06BEFC1D7125}"/>
              </a:ext>
            </a:extLst>
          </p:cNvPr>
          <p:cNvSpPr txBox="1"/>
          <p:nvPr/>
        </p:nvSpPr>
        <p:spPr>
          <a:xfrm>
            <a:off x="5362946" y="6089645"/>
            <a:ext cx="1387732" cy="261610"/>
          </a:xfrm>
          <a:prstGeom prst="rect">
            <a:avLst/>
          </a:prstGeom>
          <a:noFill/>
        </p:spPr>
        <p:txBody>
          <a:bodyPr wrap="square" rtlCol="0">
            <a:spAutoFit/>
          </a:bodyPr>
          <a:lstStyle/>
          <a:p>
            <a:pPr algn="ctr"/>
            <a:r>
              <a:rPr lang="en-US" sz="1100" dirty="0">
                <a:solidFill>
                  <a:schemeClr val="bg1"/>
                </a:solidFill>
              </a:rPr>
              <a:t>Chart 3</a:t>
            </a:r>
          </a:p>
        </p:txBody>
      </p:sp>
      <p:sp>
        <p:nvSpPr>
          <p:cNvPr id="7" name="Google Shape;793;p17">
            <a:extLst>
              <a:ext uri="{FF2B5EF4-FFF2-40B4-BE49-F238E27FC236}">
                <a16:creationId xmlns:a16="http://schemas.microsoft.com/office/drawing/2014/main" id="{A0815A90-BC6C-4174-9C44-21F1B88BBB77}"/>
              </a:ext>
            </a:extLst>
          </p:cNvPr>
          <p:cNvSpPr txBox="1">
            <a:spLocks/>
          </p:cNvSpPr>
          <p:nvPr/>
        </p:nvSpPr>
        <p:spPr>
          <a:xfrm>
            <a:off x="1851286" y="-26633"/>
            <a:ext cx="5441428" cy="989835"/>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3600" dirty="0">
                <a:solidFill>
                  <a:schemeClr val="bg1"/>
                </a:solidFill>
              </a:rPr>
              <a:t>Electricity consumption</a:t>
            </a:r>
          </a:p>
        </p:txBody>
      </p:sp>
      <p:graphicFrame>
        <p:nvGraphicFramePr>
          <p:cNvPr id="8" name="Chart 7">
            <a:extLst>
              <a:ext uri="{FF2B5EF4-FFF2-40B4-BE49-F238E27FC236}">
                <a16:creationId xmlns:a16="http://schemas.microsoft.com/office/drawing/2014/main" id="{F8CB793B-84DB-404B-9D05-ADC320A9715F}"/>
              </a:ext>
            </a:extLst>
          </p:cNvPr>
          <p:cNvGraphicFramePr>
            <a:graphicFrameLocks/>
          </p:cNvGraphicFramePr>
          <p:nvPr>
            <p:extLst>
              <p:ext uri="{D42A27DB-BD31-4B8C-83A1-F6EECF244321}">
                <p14:modId xmlns:p14="http://schemas.microsoft.com/office/powerpoint/2010/main" val="3853281646"/>
              </p:ext>
            </p:extLst>
          </p:nvPr>
        </p:nvGraphicFramePr>
        <p:xfrm>
          <a:off x="3071674" y="963202"/>
          <a:ext cx="5833391" cy="4980372"/>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13"/>
        <p:cNvGrpSpPr/>
        <p:nvPr/>
      </p:nvGrpSpPr>
      <p:grpSpPr>
        <a:xfrm>
          <a:off x="0" y="0"/>
          <a:ext cx="0" cy="0"/>
          <a:chOff x="0" y="0"/>
          <a:chExt cx="0" cy="0"/>
        </a:xfrm>
      </p:grpSpPr>
      <p:sp>
        <p:nvSpPr>
          <p:cNvPr id="818" name="Title 1">
            <a:extLst>
              <a:ext uri="{FF2B5EF4-FFF2-40B4-BE49-F238E27FC236}">
                <a16:creationId xmlns:a16="http://schemas.microsoft.com/office/drawing/2014/main" id="{F1AB8BCE-0226-4A1B-ACA6-E187E45041DB}"/>
              </a:ext>
            </a:extLst>
          </p:cNvPr>
          <p:cNvSpPr>
            <a:spLocks noGrp="1"/>
          </p:cNvSpPr>
          <p:nvPr>
            <p:ph type="title"/>
          </p:nvPr>
        </p:nvSpPr>
        <p:spPr>
          <a:xfrm>
            <a:off x="547524" y="157507"/>
            <a:ext cx="8048951" cy="711358"/>
          </a:xfrm>
        </p:spPr>
        <p:txBody>
          <a:bodyPr/>
          <a:lstStyle/>
          <a:p>
            <a:r>
              <a:rPr lang="en-US" sz="3200" dirty="0">
                <a:latin typeface="+mj-lt"/>
              </a:rPr>
              <a:t>Energy Flow charts for 2011 (in petajoules)</a:t>
            </a:r>
          </a:p>
        </p:txBody>
      </p:sp>
      <p:sp>
        <p:nvSpPr>
          <p:cNvPr id="816" name="Google Shape;816;p20"/>
          <p:cNvSpPr txBox="1">
            <a:spLocks noGrp="1"/>
          </p:cNvSpPr>
          <p:nvPr>
            <p:ph type="sldNum" idx="12"/>
          </p:nvPr>
        </p:nvSpPr>
        <p:spPr>
          <a:xfrm>
            <a:off x="8836196" y="0"/>
            <a:ext cx="307804" cy="348806"/>
          </a:xfrm>
          <a:prstGeom prst="rect">
            <a:avLst/>
          </a:prstGeom>
        </p:spPr>
        <p:txBody>
          <a:bodyPr spcFirstLastPara="1" wrap="square" lIns="121900" tIns="121900" rIns="121900" bIns="121900" anchor="ctr" anchorCtr="0">
            <a:noAutofit/>
          </a:bodyPr>
          <a:lstStyle/>
          <a:p>
            <a:pPr>
              <a:spcAft>
                <a:spcPts val="600"/>
              </a:spcAft>
            </a:pPr>
            <a:fld id="{00000000-1234-1234-1234-123412341234}" type="slidenum">
              <a:rPr lang="en" smtClean="0"/>
              <a:pPr>
                <a:spcAft>
                  <a:spcPts val="600"/>
                </a:spcAft>
              </a:pPr>
              <a:t>5</a:t>
            </a:fld>
            <a:endParaRPr lang="en-US" dirty="0"/>
          </a:p>
        </p:txBody>
      </p:sp>
      <p:pic>
        <p:nvPicPr>
          <p:cNvPr id="7" name="Picture 6" descr="Diagram&#10;&#10;Description automatically generated">
            <a:extLst>
              <a:ext uri="{FF2B5EF4-FFF2-40B4-BE49-F238E27FC236}">
                <a16:creationId xmlns:a16="http://schemas.microsoft.com/office/drawing/2014/main" id="{A52FB07F-03A1-45FC-BE28-8F2607A12BA9}"/>
              </a:ext>
            </a:extLst>
          </p:cNvPr>
          <p:cNvPicPr>
            <a:picLocks noChangeAspect="1"/>
          </p:cNvPicPr>
          <p:nvPr/>
        </p:nvPicPr>
        <p:blipFill rotWithShape="1">
          <a:blip r:embed="rId3"/>
          <a:srcRect t="9645"/>
          <a:stretch/>
        </p:blipFill>
        <p:spPr>
          <a:xfrm>
            <a:off x="0" y="1294484"/>
            <a:ext cx="4940710" cy="3934728"/>
          </a:xfrm>
          <a:prstGeom prst="rect">
            <a:avLst/>
          </a:prstGeom>
        </p:spPr>
      </p:pic>
      <p:sp>
        <p:nvSpPr>
          <p:cNvPr id="8" name="TextBox 7">
            <a:extLst>
              <a:ext uri="{FF2B5EF4-FFF2-40B4-BE49-F238E27FC236}">
                <a16:creationId xmlns:a16="http://schemas.microsoft.com/office/drawing/2014/main" id="{739F8417-0209-4C28-95D2-31FBE6B5FCC3}"/>
              </a:ext>
            </a:extLst>
          </p:cNvPr>
          <p:cNvSpPr txBox="1"/>
          <p:nvPr/>
        </p:nvSpPr>
        <p:spPr>
          <a:xfrm>
            <a:off x="0" y="5337754"/>
            <a:ext cx="8734697" cy="1384995"/>
          </a:xfrm>
          <a:prstGeom prst="rect">
            <a:avLst/>
          </a:prstGeom>
          <a:noFill/>
        </p:spPr>
        <p:txBody>
          <a:bodyPr wrap="square" rtlCol="0">
            <a:spAutoFit/>
          </a:bodyPr>
          <a:lstStyle/>
          <a:p>
            <a:r>
              <a:rPr lang="en-US" dirty="0">
                <a:solidFill>
                  <a:schemeClr val="bg1"/>
                </a:solidFill>
              </a:rPr>
              <a:t>From chart 4, we can see that more than 75% of the rejected energy of Singapore comes from the transportation sector. In comparison, during the same year, almost the half of Sweden’s rejected energy came from the generation of electricity and heat.</a:t>
            </a:r>
          </a:p>
          <a:p>
            <a:endParaRPr lang="en-US" dirty="0">
              <a:solidFill>
                <a:schemeClr val="bg1"/>
              </a:solidFill>
            </a:endParaRPr>
          </a:p>
          <a:p>
            <a:r>
              <a:rPr lang="en-US" dirty="0">
                <a:solidFill>
                  <a:schemeClr val="bg1"/>
                </a:solidFill>
              </a:rPr>
              <a:t>However, the percentage of rejected energy from transportation sector in Singapore accounts to 80%, while in Sweden it is 77%.</a:t>
            </a:r>
          </a:p>
        </p:txBody>
      </p:sp>
      <p:sp>
        <p:nvSpPr>
          <p:cNvPr id="6" name="TextBox 5">
            <a:extLst>
              <a:ext uri="{FF2B5EF4-FFF2-40B4-BE49-F238E27FC236}">
                <a16:creationId xmlns:a16="http://schemas.microsoft.com/office/drawing/2014/main" id="{C044C8C3-6D3D-4B1D-BC39-EFE4C9F94152}"/>
              </a:ext>
            </a:extLst>
          </p:cNvPr>
          <p:cNvSpPr txBox="1"/>
          <p:nvPr/>
        </p:nvSpPr>
        <p:spPr>
          <a:xfrm>
            <a:off x="1776489" y="1061606"/>
            <a:ext cx="1387732" cy="261610"/>
          </a:xfrm>
          <a:prstGeom prst="rect">
            <a:avLst/>
          </a:prstGeom>
          <a:noFill/>
        </p:spPr>
        <p:txBody>
          <a:bodyPr wrap="square" rtlCol="0">
            <a:spAutoFit/>
          </a:bodyPr>
          <a:lstStyle/>
          <a:p>
            <a:pPr algn="ctr"/>
            <a:r>
              <a:rPr lang="en-US" sz="1100" dirty="0">
                <a:solidFill>
                  <a:schemeClr val="bg1"/>
                </a:solidFill>
              </a:rPr>
              <a:t>Chart 4</a:t>
            </a:r>
          </a:p>
        </p:txBody>
      </p:sp>
      <p:pic>
        <p:nvPicPr>
          <p:cNvPr id="3" name="Picture 2" descr="Diagram&#10;&#10;Description automatically generated">
            <a:extLst>
              <a:ext uri="{FF2B5EF4-FFF2-40B4-BE49-F238E27FC236}">
                <a16:creationId xmlns:a16="http://schemas.microsoft.com/office/drawing/2014/main" id="{8AAECD87-787E-4FED-9190-F89222B5A4BB}"/>
              </a:ext>
            </a:extLst>
          </p:cNvPr>
          <p:cNvPicPr>
            <a:picLocks noChangeAspect="1"/>
          </p:cNvPicPr>
          <p:nvPr/>
        </p:nvPicPr>
        <p:blipFill rotWithShape="1">
          <a:blip r:embed="rId4"/>
          <a:srcRect t="1303" b="1"/>
          <a:stretch/>
        </p:blipFill>
        <p:spPr>
          <a:xfrm>
            <a:off x="5007077" y="1568314"/>
            <a:ext cx="4136923" cy="3387068"/>
          </a:xfrm>
          <a:prstGeom prst="rect">
            <a:avLst/>
          </a:prstGeom>
        </p:spPr>
      </p:pic>
      <p:sp>
        <p:nvSpPr>
          <p:cNvPr id="9" name="TextBox 8">
            <a:extLst>
              <a:ext uri="{FF2B5EF4-FFF2-40B4-BE49-F238E27FC236}">
                <a16:creationId xmlns:a16="http://schemas.microsoft.com/office/drawing/2014/main" id="{28F66F35-58CB-4227-89A8-44071F3F855E}"/>
              </a:ext>
            </a:extLst>
          </p:cNvPr>
          <p:cNvSpPr txBox="1"/>
          <p:nvPr/>
        </p:nvSpPr>
        <p:spPr>
          <a:xfrm>
            <a:off x="6381672" y="1323216"/>
            <a:ext cx="1387732" cy="261610"/>
          </a:xfrm>
          <a:prstGeom prst="rect">
            <a:avLst/>
          </a:prstGeom>
          <a:noFill/>
        </p:spPr>
        <p:txBody>
          <a:bodyPr wrap="square" rtlCol="0">
            <a:spAutoFit/>
          </a:bodyPr>
          <a:lstStyle/>
          <a:p>
            <a:pPr algn="ctr"/>
            <a:r>
              <a:rPr lang="en-US" sz="1100" dirty="0">
                <a:solidFill>
                  <a:schemeClr val="bg1"/>
                </a:solidFill>
              </a:rPr>
              <a:t>Chart 5</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20"/>
        <p:cNvGrpSpPr/>
        <p:nvPr/>
      </p:nvGrpSpPr>
      <p:grpSpPr>
        <a:xfrm>
          <a:off x="0" y="0"/>
          <a:ext cx="0" cy="0"/>
          <a:chOff x="0" y="0"/>
          <a:chExt cx="0" cy="0"/>
        </a:xfrm>
      </p:grpSpPr>
      <p:sp>
        <p:nvSpPr>
          <p:cNvPr id="835" name="Google Shape;835;p21"/>
          <p:cNvSpPr txBox="1">
            <a:spLocks noGrp="1"/>
          </p:cNvSpPr>
          <p:nvPr>
            <p:ph type="sldNum" idx="12"/>
          </p:nvPr>
        </p:nvSpPr>
        <p:spPr>
          <a:xfrm>
            <a:off x="8839201" y="0"/>
            <a:ext cx="304800" cy="363415"/>
          </a:xfrm>
          <a:prstGeom prst="rect">
            <a:avLst/>
          </a:prstGeom>
        </p:spPr>
        <p:txBody>
          <a:bodyPr spcFirstLastPara="1" wrap="square" lIns="121900" tIns="121900" rIns="121900" bIns="121900" anchor="ctr" anchorCtr="0">
            <a:noAutofit/>
          </a:bodyPr>
          <a:lstStyle/>
          <a:p>
            <a:fld id="{00000000-1234-1234-1234-123412341234}" type="slidenum">
              <a:rPr lang="en"/>
              <a:pPr/>
              <a:t>6</a:t>
            </a:fld>
            <a:endParaRPr dirty="0"/>
          </a:p>
        </p:txBody>
      </p:sp>
      <p:graphicFrame>
        <p:nvGraphicFramePr>
          <p:cNvPr id="18" name="Chart 17">
            <a:extLst>
              <a:ext uri="{FF2B5EF4-FFF2-40B4-BE49-F238E27FC236}">
                <a16:creationId xmlns:a16="http://schemas.microsoft.com/office/drawing/2014/main" id="{CFE936D7-178F-4FB1-808E-FBF20CF696BB}"/>
              </a:ext>
            </a:extLst>
          </p:cNvPr>
          <p:cNvGraphicFramePr>
            <a:graphicFrameLocks/>
          </p:cNvGraphicFramePr>
          <p:nvPr>
            <p:extLst>
              <p:ext uri="{D42A27DB-BD31-4B8C-83A1-F6EECF244321}">
                <p14:modId xmlns:p14="http://schemas.microsoft.com/office/powerpoint/2010/main" val="4001971218"/>
              </p:ext>
            </p:extLst>
          </p:nvPr>
        </p:nvGraphicFramePr>
        <p:xfrm>
          <a:off x="297711" y="363414"/>
          <a:ext cx="4671237" cy="28688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87805082-438F-4865-B96E-A5878E7A2E7A}"/>
              </a:ext>
            </a:extLst>
          </p:cNvPr>
          <p:cNvGraphicFramePr>
            <a:graphicFrameLocks/>
          </p:cNvGraphicFramePr>
          <p:nvPr>
            <p:extLst>
              <p:ext uri="{D42A27DB-BD31-4B8C-83A1-F6EECF244321}">
                <p14:modId xmlns:p14="http://schemas.microsoft.com/office/powerpoint/2010/main" val="2045678094"/>
              </p:ext>
            </p:extLst>
          </p:nvPr>
        </p:nvGraphicFramePr>
        <p:xfrm>
          <a:off x="5280837" y="3615070"/>
          <a:ext cx="3565452" cy="2557129"/>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7D0719DA-8FBE-4FE9-99F3-A6776FBF0B63}"/>
              </a:ext>
            </a:extLst>
          </p:cNvPr>
          <p:cNvSpPr txBox="1"/>
          <p:nvPr/>
        </p:nvSpPr>
        <p:spPr>
          <a:xfrm>
            <a:off x="5273749" y="296472"/>
            <a:ext cx="3572540" cy="3554819"/>
          </a:xfrm>
          <a:prstGeom prst="rect">
            <a:avLst/>
          </a:prstGeom>
          <a:noFill/>
        </p:spPr>
        <p:txBody>
          <a:bodyPr wrap="square" rtlCol="0">
            <a:spAutoFit/>
          </a:bodyPr>
          <a:lstStyle/>
          <a:p>
            <a:r>
              <a:rPr lang="en-US" sz="1200" dirty="0">
                <a:solidFill>
                  <a:schemeClr val="bg1"/>
                </a:solidFill>
              </a:rPr>
              <a:t>Singapore only generates about 0.24% of its total energy through renewable sources, due to various challenges in their installation and initiation.</a:t>
            </a:r>
          </a:p>
          <a:p>
            <a:endParaRPr lang="en-US" sz="1200" dirty="0">
              <a:solidFill>
                <a:schemeClr val="bg1"/>
              </a:solidFill>
            </a:endParaRPr>
          </a:p>
          <a:p>
            <a:pPr marL="285750" indent="-285750">
              <a:buFont typeface="Arial" panose="020B0604020202020204" pitchFamily="34" charset="0"/>
              <a:buChar char="•"/>
            </a:pPr>
            <a:r>
              <a:rPr lang="en-US" sz="1100" dirty="0">
                <a:solidFill>
                  <a:schemeClr val="bg1"/>
                </a:solidFill>
              </a:rPr>
              <a:t>Commercial wind turbines operate at wind speeds of around above 4.5m/s(meters per second) but the average wind speed in Singapore is only about 2m/s</a:t>
            </a:r>
          </a:p>
          <a:p>
            <a:pPr marL="285750" indent="-285750">
              <a:buFont typeface="Arial" panose="020B0604020202020204" pitchFamily="34" charset="0"/>
              <a:buChar char="•"/>
            </a:pPr>
            <a:endParaRPr lang="en-US" sz="1100" dirty="0">
              <a:solidFill>
                <a:schemeClr val="bg1"/>
              </a:solidFill>
            </a:endParaRPr>
          </a:p>
          <a:p>
            <a:pPr marL="285750" indent="-285750">
              <a:buFont typeface="Arial" panose="020B0604020202020204" pitchFamily="34" charset="0"/>
              <a:buChar char="•"/>
            </a:pPr>
            <a:r>
              <a:rPr lang="en-US" sz="1100" dirty="0">
                <a:solidFill>
                  <a:schemeClr val="bg1"/>
                </a:solidFill>
              </a:rPr>
              <a:t>Singapore’s relatively narrow tidal range and calm seas limit opportunities for commercial tidal power generation.</a:t>
            </a:r>
          </a:p>
          <a:p>
            <a:pPr marL="285750" indent="-285750">
              <a:buFont typeface="Arial" panose="020B0604020202020204" pitchFamily="34" charset="0"/>
              <a:buChar char="•"/>
            </a:pPr>
            <a:endParaRPr lang="en-US" sz="1100" dirty="0">
              <a:solidFill>
                <a:schemeClr val="bg1"/>
              </a:solidFill>
            </a:endParaRPr>
          </a:p>
          <a:p>
            <a:pPr marL="285750" indent="-285750">
              <a:buFont typeface="Arial" panose="020B0604020202020204" pitchFamily="34" charset="0"/>
              <a:buChar char="•"/>
            </a:pPr>
            <a:r>
              <a:rPr lang="en-US" sz="1100" dirty="0">
                <a:solidFill>
                  <a:schemeClr val="bg1"/>
                </a:solidFill>
              </a:rPr>
              <a:t>Hydroelectric power cannot be harnessed, as Singapore does not have a river system with fast flowing water throughout the year</a:t>
            </a:r>
          </a:p>
          <a:p>
            <a:pPr marL="285750" indent="-285750">
              <a:buFont typeface="Arial" panose="020B0604020202020204" pitchFamily="34" charset="0"/>
              <a:buChar char="•"/>
            </a:pPr>
            <a:endParaRPr lang="en-US" sz="1100" dirty="0">
              <a:solidFill>
                <a:schemeClr val="bg1"/>
              </a:solidFill>
            </a:endParaRPr>
          </a:p>
          <a:p>
            <a:pPr marL="285750" indent="-285750">
              <a:buFont typeface="Arial" panose="020B0604020202020204" pitchFamily="34" charset="0"/>
              <a:buChar char="•"/>
            </a:pPr>
            <a:r>
              <a:rPr lang="en-US" sz="1100" dirty="0">
                <a:solidFill>
                  <a:schemeClr val="bg1"/>
                </a:solidFill>
              </a:rPr>
              <a:t>Also, there are no geothermal energy sources in Singapore</a:t>
            </a:r>
          </a:p>
          <a:p>
            <a:pPr marL="285750" indent="-285750">
              <a:buFont typeface="Arial" panose="020B0604020202020204" pitchFamily="34" charset="0"/>
              <a:buChar char="•"/>
            </a:pPr>
            <a:endParaRPr lang="en-US" sz="1200" dirty="0">
              <a:solidFill>
                <a:schemeClr val="bg1"/>
              </a:solidFill>
            </a:endParaRPr>
          </a:p>
        </p:txBody>
      </p:sp>
      <p:sp>
        <p:nvSpPr>
          <p:cNvPr id="3" name="TextBox 2">
            <a:extLst>
              <a:ext uri="{FF2B5EF4-FFF2-40B4-BE49-F238E27FC236}">
                <a16:creationId xmlns:a16="http://schemas.microsoft.com/office/drawing/2014/main" id="{5A6704DC-A406-4705-9E8B-16195B26CA92}"/>
              </a:ext>
            </a:extLst>
          </p:cNvPr>
          <p:cNvSpPr txBox="1"/>
          <p:nvPr/>
        </p:nvSpPr>
        <p:spPr>
          <a:xfrm>
            <a:off x="297711" y="3615070"/>
            <a:ext cx="4671237" cy="2677656"/>
          </a:xfrm>
          <a:prstGeom prst="rect">
            <a:avLst/>
          </a:prstGeom>
          <a:noFill/>
        </p:spPr>
        <p:txBody>
          <a:bodyPr wrap="square" rtlCol="0">
            <a:spAutoFit/>
          </a:bodyPr>
          <a:lstStyle/>
          <a:p>
            <a:r>
              <a:rPr lang="en-US" sz="1200" dirty="0">
                <a:solidFill>
                  <a:schemeClr val="bg1"/>
                </a:solidFill>
              </a:rPr>
              <a:t>Because Singapore is limited in terms of cost-effective and reliable renewable energy sources, solar photovoltaic is the only renewable energy source with potential to make an impact on the energy grid.</a:t>
            </a:r>
          </a:p>
          <a:p>
            <a:endParaRPr lang="en-US" sz="1200" dirty="0">
              <a:solidFill>
                <a:schemeClr val="bg1"/>
              </a:solidFill>
            </a:endParaRPr>
          </a:p>
          <a:p>
            <a:r>
              <a:rPr lang="en-US" sz="1200" dirty="0">
                <a:solidFill>
                  <a:schemeClr val="bg1"/>
                </a:solidFill>
              </a:rPr>
              <a:t>However, the installation of solar panels in Singapore is also problematic due to the limitations in the availability of land.</a:t>
            </a:r>
          </a:p>
          <a:p>
            <a:endParaRPr lang="en-US" sz="1200" dirty="0">
              <a:solidFill>
                <a:schemeClr val="bg1"/>
              </a:solidFill>
            </a:endParaRPr>
          </a:p>
          <a:p>
            <a:r>
              <a:rPr lang="en-US" sz="1200" dirty="0">
                <a:solidFill>
                  <a:schemeClr val="bg1"/>
                </a:solidFill>
              </a:rPr>
              <a:t>With the limited renewable energy options available to Singapore and the current technological capabilities, the country is not able to generate sufficient baseload electricity from renewable sources. Nevertheless, Singapore aims to deploy at least 2 gigawatt-peak of solar energy by 2030. This is equivalent to powering about 350,000 households for a year.</a:t>
            </a:r>
            <a:endParaRPr lang="en-US" dirty="0">
              <a:solidFill>
                <a:schemeClr val="bg1"/>
              </a:solidFill>
            </a:endParaRPr>
          </a:p>
        </p:txBody>
      </p:sp>
      <p:sp>
        <p:nvSpPr>
          <p:cNvPr id="7" name="TextBox 6">
            <a:extLst>
              <a:ext uri="{FF2B5EF4-FFF2-40B4-BE49-F238E27FC236}">
                <a16:creationId xmlns:a16="http://schemas.microsoft.com/office/drawing/2014/main" id="{DA261C04-2FEB-45A6-87DD-DED780F76821}"/>
              </a:ext>
            </a:extLst>
          </p:cNvPr>
          <p:cNvSpPr txBox="1"/>
          <p:nvPr/>
        </p:nvSpPr>
        <p:spPr>
          <a:xfrm>
            <a:off x="1939463" y="101804"/>
            <a:ext cx="1387732" cy="261610"/>
          </a:xfrm>
          <a:prstGeom prst="rect">
            <a:avLst/>
          </a:prstGeom>
          <a:noFill/>
        </p:spPr>
        <p:txBody>
          <a:bodyPr wrap="square" rtlCol="0">
            <a:spAutoFit/>
          </a:bodyPr>
          <a:lstStyle/>
          <a:p>
            <a:pPr algn="ctr"/>
            <a:r>
              <a:rPr lang="en-US" sz="1100" dirty="0">
                <a:solidFill>
                  <a:schemeClr val="bg1"/>
                </a:solidFill>
              </a:rPr>
              <a:t>Chart 6</a:t>
            </a:r>
          </a:p>
        </p:txBody>
      </p:sp>
      <p:sp>
        <p:nvSpPr>
          <p:cNvPr id="9" name="TextBox 8">
            <a:extLst>
              <a:ext uri="{FF2B5EF4-FFF2-40B4-BE49-F238E27FC236}">
                <a16:creationId xmlns:a16="http://schemas.microsoft.com/office/drawing/2014/main" id="{81C5BE34-D6A4-40AD-B450-BBF0D012ABEA}"/>
              </a:ext>
            </a:extLst>
          </p:cNvPr>
          <p:cNvSpPr txBox="1"/>
          <p:nvPr/>
        </p:nvSpPr>
        <p:spPr>
          <a:xfrm>
            <a:off x="6362609" y="6172199"/>
            <a:ext cx="1387732" cy="261610"/>
          </a:xfrm>
          <a:prstGeom prst="rect">
            <a:avLst/>
          </a:prstGeom>
          <a:noFill/>
        </p:spPr>
        <p:txBody>
          <a:bodyPr wrap="square" rtlCol="0">
            <a:spAutoFit/>
          </a:bodyPr>
          <a:lstStyle/>
          <a:p>
            <a:pPr algn="ctr"/>
            <a:r>
              <a:rPr lang="en-US" sz="1100" dirty="0">
                <a:solidFill>
                  <a:schemeClr val="bg1"/>
                </a:solidFill>
              </a:rPr>
              <a:t>Chart 7</a:t>
            </a:r>
          </a:p>
        </p:txBody>
      </p:sp>
      <p:sp>
        <p:nvSpPr>
          <p:cNvPr id="4" name="TextBox 3">
            <a:extLst>
              <a:ext uri="{FF2B5EF4-FFF2-40B4-BE49-F238E27FC236}">
                <a16:creationId xmlns:a16="http://schemas.microsoft.com/office/drawing/2014/main" id="{BBC4CB16-4058-4A46-9087-10ACB813234E}"/>
              </a:ext>
            </a:extLst>
          </p:cNvPr>
          <p:cNvSpPr txBox="1"/>
          <p:nvPr/>
        </p:nvSpPr>
        <p:spPr>
          <a:xfrm>
            <a:off x="0" y="6507332"/>
            <a:ext cx="3861786" cy="553998"/>
          </a:xfrm>
          <a:prstGeom prst="rect">
            <a:avLst/>
          </a:prstGeom>
          <a:noFill/>
        </p:spPr>
        <p:txBody>
          <a:bodyPr wrap="square" rtlCol="0">
            <a:spAutoFit/>
          </a:bodyPr>
          <a:lstStyle/>
          <a:p>
            <a:r>
              <a:rPr lang="en-US" sz="800" dirty="0">
                <a:solidFill>
                  <a:schemeClr val="bg1"/>
                </a:solidFill>
              </a:rPr>
              <a:t>* Low-carbon energy is defined as the sum of renewable sources. Renewable sources include wind and solar. Traditional biofuels are not included.</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83"/>
        <p:cNvGrpSpPr/>
        <p:nvPr/>
      </p:nvGrpSpPr>
      <p:grpSpPr>
        <a:xfrm>
          <a:off x="0" y="0"/>
          <a:ext cx="0" cy="0"/>
          <a:chOff x="0" y="0"/>
          <a:chExt cx="0" cy="0"/>
        </a:xfrm>
      </p:grpSpPr>
      <p:sp>
        <p:nvSpPr>
          <p:cNvPr id="788" name="Google Shape;788;p16"/>
          <p:cNvSpPr txBox="1">
            <a:spLocks noGrp="1"/>
          </p:cNvSpPr>
          <p:nvPr>
            <p:ph type="sldNum" idx="12"/>
          </p:nvPr>
        </p:nvSpPr>
        <p:spPr>
          <a:xfrm>
            <a:off x="8708545" y="-166431"/>
            <a:ext cx="557400" cy="730400"/>
          </a:xfrm>
        </p:spPr>
        <p:txBody>
          <a:bodyPr spcFirstLastPara="1" wrap="square" lIns="121900" tIns="121900" rIns="121900" bIns="121900" anchor="ctr" anchorCtr="0">
            <a:normAutofit/>
          </a:bodyPr>
          <a:lstStyle/>
          <a:p>
            <a:pPr>
              <a:spcAft>
                <a:spcPts val="800"/>
              </a:spcAft>
            </a:pPr>
            <a:fld id="{00000000-1234-1234-1234-123412341234}" type="slidenum">
              <a:rPr lang="en"/>
              <a:pPr>
                <a:spcAft>
                  <a:spcPts val="800"/>
                </a:spcAft>
              </a:pPr>
              <a:t>7</a:t>
            </a:fld>
            <a:endParaRPr lang="en-US" dirty="0"/>
          </a:p>
        </p:txBody>
      </p:sp>
      <p:graphicFrame>
        <p:nvGraphicFramePr>
          <p:cNvPr id="22" name="Chart 21">
            <a:extLst>
              <a:ext uri="{FF2B5EF4-FFF2-40B4-BE49-F238E27FC236}">
                <a16:creationId xmlns:a16="http://schemas.microsoft.com/office/drawing/2014/main" id="{5F942D43-0670-4E14-AF60-008B23876A4B}"/>
              </a:ext>
            </a:extLst>
          </p:cNvPr>
          <p:cNvGraphicFramePr>
            <a:graphicFrameLocks/>
          </p:cNvGraphicFramePr>
          <p:nvPr>
            <p:extLst>
              <p:ext uri="{D42A27DB-BD31-4B8C-83A1-F6EECF244321}">
                <p14:modId xmlns:p14="http://schemas.microsoft.com/office/powerpoint/2010/main" val="1355529421"/>
              </p:ext>
            </p:extLst>
          </p:nvPr>
        </p:nvGraphicFramePr>
        <p:xfrm>
          <a:off x="606707" y="350004"/>
          <a:ext cx="7930586" cy="381332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CADCF52-DB5A-4399-BE4E-1B8BB7C3DD0B}"/>
              </a:ext>
            </a:extLst>
          </p:cNvPr>
          <p:cNvSpPr txBox="1"/>
          <p:nvPr/>
        </p:nvSpPr>
        <p:spPr>
          <a:xfrm>
            <a:off x="3878134" y="88394"/>
            <a:ext cx="1387732" cy="261610"/>
          </a:xfrm>
          <a:prstGeom prst="rect">
            <a:avLst/>
          </a:prstGeom>
          <a:noFill/>
        </p:spPr>
        <p:txBody>
          <a:bodyPr wrap="square" rtlCol="0">
            <a:spAutoFit/>
          </a:bodyPr>
          <a:lstStyle/>
          <a:p>
            <a:pPr algn="ctr"/>
            <a:r>
              <a:rPr lang="en-US" sz="1100" dirty="0">
                <a:solidFill>
                  <a:schemeClr val="bg1"/>
                </a:solidFill>
              </a:rPr>
              <a:t>Chart 8</a:t>
            </a:r>
          </a:p>
        </p:txBody>
      </p:sp>
      <p:sp>
        <p:nvSpPr>
          <p:cNvPr id="6" name="TextBox 5">
            <a:extLst>
              <a:ext uri="{FF2B5EF4-FFF2-40B4-BE49-F238E27FC236}">
                <a16:creationId xmlns:a16="http://schemas.microsoft.com/office/drawing/2014/main" id="{5E4D2500-6C2A-4085-BEA5-FB76F35C043E}"/>
              </a:ext>
            </a:extLst>
          </p:cNvPr>
          <p:cNvSpPr txBox="1"/>
          <p:nvPr/>
        </p:nvSpPr>
        <p:spPr>
          <a:xfrm>
            <a:off x="0" y="4424943"/>
            <a:ext cx="9143999" cy="2246769"/>
          </a:xfrm>
          <a:prstGeom prst="rect">
            <a:avLst/>
          </a:prstGeom>
          <a:noFill/>
        </p:spPr>
        <p:txBody>
          <a:bodyPr wrap="square" rtlCol="0">
            <a:spAutoFit/>
          </a:bodyPr>
          <a:lstStyle/>
          <a:p>
            <a:r>
              <a:rPr lang="en-US" dirty="0">
                <a:solidFill>
                  <a:schemeClr val="bg1"/>
                </a:solidFill>
              </a:rPr>
              <a:t>Currently, 95% of Singapore’s electricity is produced using natural gas, while the rest is produced by coal, oil, municipal waste, and solar.</a:t>
            </a:r>
          </a:p>
          <a:p>
            <a:endParaRPr lang="en-US" dirty="0">
              <a:solidFill>
                <a:schemeClr val="bg1"/>
              </a:solidFill>
            </a:endParaRPr>
          </a:p>
          <a:p>
            <a:r>
              <a:rPr lang="en-US" dirty="0">
                <a:solidFill>
                  <a:schemeClr val="bg1"/>
                </a:solidFill>
              </a:rPr>
              <a:t>Singapore’s government has promoted the use of natural gas over the past several years, which is evident from the chart above. Singapore’s natural gas consumption increased from 230 billion cubic feet in 2005 to 400 billion cubic feet in 2015. Over the same period, the share of natural gas in Singapore’s electricity generation fuel mix increased significantly from 74% to 95% as many gas-fired generators have replaced the use of oil-fired ones.</a:t>
            </a:r>
          </a:p>
          <a:p>
            <a:endParaRPr lang="en-US" dirty="0">
              <a:solidFill>
                <a:schemeClr val="bg1"/>
              </a:solidFill>
            </a:endParaRPr>
          </a:p>
          <a:p>
            <a:r>
              <a:rPr lang="en-US" dirty="0">
                <a:solidFill>
                  <a:schemeClr val="bg1"/>
                </a:solidFill>
              </a:rPr>
              <a:t>Singapore’s government intends to rely exclusively on liquefied natural gas (LNG) imports by 2024, following the expiration of several gas pipeline import contract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70"/>
        <p:cNvGrpSpPr/>
        <p:nvPr/>
      </p:nvGrpSpPr>
      <p:grpSpPr>
        <a:xfrm>
          <a:off x="0" y="0"/>
          <a:ext cx="0" cy="0"/>
          <a:chOff x="0" y="0"/>
          <a:chExt cx="0" cy="0"/>
        </a:xfrm>
      </p:grpSpPr>
      <p:sp>
        <p:nvSpPr>
          <p:cNvPr id="872" name="Google Shape;872;p26"/>
          <p:cNvSpPr txBox="1">
            <a:spLocks noGrp="1"/>
          </p:cNvSpPr>
          <p:nvPr>
            <p:ph type="sldNum" idx="12"/>
          </p:nvPr>
        </p:nvSpPr>
        <p:spPr>
          <a:xfrm>
            <a:off x="8746064" y="-181888"/>
            <a:ext cx="557400" cy="730400"/>
          </a:xfrm>
          <a:prstGeom prst="rect">
            <a:avLst/>
          </a:prstGeom>
        </p:spPr>
        <p:txBody>
          <a:bodyPr spcFirstLastPara="1" wrap="square" lIns="121900" tIns="121900" rIns="121900" bIns="121900" anchor="ctr" anchorCtr="0">
            <a:noAutofit/>
          </a:bodyPr>
          <a:lstStyle/>
          <a:p>
            <a:fld id="{00000000-1234-1234-1234-123412341234}" type="slidenum">
              <a:rPr lang="en"/>
              <a:pPr/>
              <a:t>8</a:t>
            </a:fld>
            <a:endParaRPr dirty="0"/>
          </a:p>
        </p:txBody>
      </p:sp>
      <p:sp>
        <p:nvSpPr>
          <p:cNvPr id="85" name="TextBox 84">
            <a:extLst>
              <a:ext uri="{FF2B5EF4-FFF2-40B4-BE49-F238E27FC236}">
                <a16:creationId xmlns:a16="http://schemas.microsoft.com/office/drawing/2014/main" id="{99ABFFC6-0B2A-4269-9673-2C13F4223BA6}"/>
              </a:ext>
            </a:extLst>
          </p:cNvPr>
          <p:cNvSpPr txBox="1"/>
          <p:nvPr/>
        </p:nvSpPr>
        <p:spPr>
          <a:xfrm>
            <a:off x="0" y="4371908"/>
            <a:ext cx="9374819" cy="2893100"/>
          </a:xfrm>
          <a:prstGeom prst="rect">
            <a:avLst/>
          </a:prstGeom>
          <a:noFill/>
        </p:spPr>
        <p:txBody>
          <a:bodyPr wrap="square" rtlCol="0">
            <a:spAutoFit/>
          </a:bodyPr>
          <a:lstStyle/>
          <a:p>
            <a:r>
              <a:rPr lang="en-US" dirty="0">
                <a:solidFill>
                  <a:schemeClr val="bg1"/>
                </a:solidFill>
              </a:rPr>
              <a:t>Singapore is an exporter and importer of various petroleum products. More specifically, the country imports fuel oils (IFO*, HFO**, etc.) and exports diesel oil and gasoline.</a:t>
            </a:r>
          </a:p>
          <a:p>
            <a:endParaRPr lang="en-US" dirty="0">
              <a:solidFill>
                <a:schemeClr val="bg1"/>
              </a:solidFill>
            </a:endParaRPr>
          </a:p>
          <a:p>
            <a:r>
              <a:rPr lang="en-US" dirty="0">
                <a:solidFill>
                  <a:schemeClr val="bg1"/>
                </a:solidFill>
              </a:rPr>
              <a:t>Singapore is one of the world's largest refining and petrochemical complexes, the world's largest bunkering port, Asia's largest oil trading hub and two of the world's largest rig builders. Hence, the economy of Singapore is directly linked to fossil fuels.</a:t>
            </a:r>
          </a:p>
          <a:p>
            <a:endParaRPr lang="en-US" dirty="0">
              <a:solidFill>
                <a:schemeClr val="bg1"/>
              </a:solidFill>
            </a:endParaRPr>
          </a:p>
          <a:p>
            <a:r>
              <a:rPr lang="en-US" dirty="0">
                <a:solidFill>
                  <a:schemeClr val="bg1"/>
                </a:solidFill>
              </a:rPr>
              <a:t>Singapore has set out a plan to phase out internal combustion engine vehicles by the year 2040 and manufacture electric vehicles to supply the demand. The country also plans to import electricity from Southeast Asia. Also, the city-state's Carbon Pricing Act for the reduction of greenhouse gas emissions  was introduced in 2019.</a:t>
            </a:r>
          </a:p>
          <a:p>
            <a:endParaRPr lang="en-US" dirty="0">
              <a:solidFill>
                <a:schemeClr val="bg1"/>
              </a:solidFill>
            </a:endParaRPr>
          </a:p>
          <a:p>
            <a:endParaRPr lang="en-US" dirty="0">
              <a:solidFill>
                <a:schemeClr val="bg1"/>
              </a:solidFill>
            </a:endParaRPr>
          </a:p>
          <a:p>
            <a:endParaRPr lang="en-US" dirty="0">
              <a:solidFill>
                <a:schemeClr val="bg1"/>
              </a:solidFill>
            </a:endParaRPr>
          </a:p>
        </p:txBody>
      </p:sp>
      <p:graphicFrame>
        <p:nvGraphicFramePr>
          <p:cNvPr id="90" name="Chart 89">
            <a:extLst>
              <a:ext uri="{FF2B5EF4-FFF2-40B4-BE49-F238E27FC236}">
                <a16:creationId xmlns:a16="http://schemas.microsoft.com/office/drawing/2014/main" id="{BBDDA427-C094-48AA-B527-9CFA65E5916F}"/>
              </a:ext>
            </a:extLst>
          </p:cNvPr>
          <p:cNvGraphicFramePr>
            <a:graphicFrameLocks/>
          </p:cNvGraphicFramePr>
          <p:nvPr>
            <p:extLst>
              <p:ext uri="{D42A27DB-BD31-4B8C-83A1-F6EECF244321}">
                <p14:modId xmlns:p14="http://schemas.microsoft.com/office/powerpoint/2010/main" val="304525938"/>
              </p:ext>
            </p:extLst>
          </p:nvPr>
        </p:nvGraphicFramePr>
        <p:xfrm>
          <a:off x="102526" y="725872"/>
          <a:ext cx="4389120" cy="352044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B3F02A66-A29C-4C27-BBF8-2A5BDF5375DC}"/>
              </a:ext>
            </a:extLst>
          </p:cNvPr>
          <p:cNvSpPr txBox="1"/>
          <p:nvPr/>
        </p:nvSpPr>
        <p:spPr>
          <a:xfrm>
            <a:off x="3379243" y="3963013"/>
            <a:ext cx="1387732" cy="261610"/>
          </a:xfrm>
          <a:prstGeom prst="rect">
            <a:avLst/>
          </a:prstGeom>
          <a:noFill/>
        </p:spPr>
        <p:txBody>
          <a:bodyPr wrap="square" rtlCol="0">
            <a:spAutoFit/>
          </a:bodyPr>
          <a:lstStyle/>
          <a:p>
            <a:pPr algn="ctr"/>
            <a:r>
              <a:rPr lang="en-US" sz="1100" dirty="0">
                <a:solidFill>
                  <a:schemeClr val="tx1"/>
                </a:solidFill>
              </a:rPr>
              <a:t>Chart 9</a:t>
            </a:r>
          </a:p>
        </p:txBody>
      </p:sp>
      <p:graphicFrame>
        <p:nvGraphicFramePr>
          <p:cNvPr id="6" name="Chart 5">
            <a:extLst>
              <a:ext uri="{FF2B5EF4-FFF2-40B4-BE49-F238E27FC236}">
                <a16:creationId xmlns:a16="http://schemas.microsoft.com/office/drawing/2014/main" id="{B8E00A06-4BE4-46F3-A38A-7B65F19E2A90}"/>
              </a:ext>
            </a:extLst>
          </p:cNvPr>
          <p:cNvGraphicFramePr>
            <a:graphicFrameLocks/>
          </p:cNvGraphicFramePr>
          <p:nvPr>
            <p:extLst>
              <p:ext uri="{D42A27DB-BD31-4B8C-83A1-F6EECF244321}">
                <p14:modId xmlns:p14="http://schemas.microsoft.com/office/powerpoint/2010/main" val="259258394"/>
              </p:ext>
            </p:extLst>
          </p:nvPr>
        </p:nvGraphicFramePr>
        <p:xfrm>
          <a:off x="4635644" y="721362"/>
          <a:ext cx="4389120" cy="3523334"/>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EDDE6E3F-2273-4FCF-B832-722E46DE70A3}"/>
              </a:ext>
            </a:extLst>
          </p:cNvPr>
          <p:cNvSpPr txBox="1"/>
          <p:nvPr/>
        </p:nvSpPr>
        <p:spPr>
          <a:xfrm>
            <a:off x="7987087" y="3983086"/>
            <a:ext cx="1387732" cy="261610"/>
          </a:xfrm>
          <a:prstGeom prst="rect">
            <a:avLst/>
          </a:prstGeom>
          <a:noFill/>
        </p:spPr>
        <p:txBody>
          <a:bodyPr wrap="square" rtlCol="0">
            <a:spAutoFit/>
          </a:bodyPr>
          <a:lstStyle/>
          <a:p>
            <a:pPr algn="ctr"/>
            <a:r>
              <a:rPr lang="en-US" sz="1100" dirty="0">
                <a:solidFill>
                  <a:schemeClr val="tx1"/>
                </a:solidFill>
              </a:rPr>
              <a:t>Chart 10</a:t>
            </a:r>
          </a:p>
        </p:txBody>
      </p:sp>
      <p:sp>
        <p:nvSpPr>
          <p:cNvPr id="2" name="TextBox 1">
            <a:extLst>
              <a:ext uri="{FF2B5EF4-FFF2-40B4-BE49-F238E27FC236}">
                <a16:creationId xmlns:a16="http://schemas.microsoft.com/office/drawing/2014/main" id="{FE082A92-42EF-4BDF-80C1-7897E8FE49B6}"/>
              </a:ext>
            </a:extLst>
          </p:cNvPr>
          <p:cNvSpPr txBox="1"/>
          <p:nvPr/>
        </p:nvSpPr>
        <p:spPr>
          <a:xfrm>
            <a:off x="0" y="6596390"/>
            <a:ext cx="5118066" cy="261610"/>
          </a:xfrm>
          <a:prstGeom prst="rect">
            <a:avLst/>
          </a:prstGeom>
          <a:noFill/>
        </p:spPr>
        <p:txBody>
          <a:bodyPr wrap="square" rtlCol="0">
            <a:spAutoFit/>
          </a:bodyPr>
          <a:lstStyle/>
          <a:p>
            <a:r>
              <a:rPr lang="en-US" sz="1050" dirty="0">
                <a:solidFill>
                  <a:schemeClr val="bg1"/>
                </a:solidFill>
              </a:rPr>
              <a:t>* Intermediate fuel oil, ** heavy fuel oil</a:t>
            </a:r>
          </a:p>
        </p:txBody>
      </p:sp>
      <p:sp>
        <p:nvSpPr>
          <p:cNvPr id="9" name="Google Shape;793;p17">
            <a:extLst>
              <a:ext uri="{FF2B5EF4-FFF2-40B4-BE49-F238E27FC236}">
                <a16:creationId xmlns:a16="http://schemas.microsoft.com/office/drawing/2014/main" id="{529D7B3C-6913-412A-9D10-E25F9DCCF07E}"/>
              </a:ext>
            </a:extLst>
          </p:cNvPr>
          <p:cNvSpPr txBox="1">
            <a:spLocks/>
          </p:cNvSpPr>
          <p:nvPr/>
        </p:nvSpPr>
        <p:spPr>
          <a:xfrm>
            <a:off x="1914930" y="-128622"/>
            <a:ext cx="5441428" cy="989835"/>
          </a:xfrm>
          <a:prstGeom prst="rect">
            <a:avLst/>
          </a:prstGeom>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sz="3600" dirty="0">
                <a:solidFill>
                  <a:schemeClr val="bg1"/>
                </a:solidFill>
              </a:rPr>
              <a:t>Energy imports/expor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56"/>
        <p:cNvGrpSpPr/>
        <p:nvPr/>
      </p:nvGrpSpPr>
      <p:grpSpPr>
        <a:xfrm>
          <a:off x="0" y="0"/>
          <a:ext cx="0" cy="0"/>
          <a:chOff x="0" y="0"/>
          <a:chExt cx="0" cy="0"/>
        </a:xfrm>
      </p:grpSpPr>
      <p:sp>
        <p:nvSpPr>
          <p:cNvPr id="6" name="TextBox 5">
            <a:extLst>
              <a:ext uri="{FF2B5EF4-FFF2-40B4-BE49-F238E27FC236}">
                <a16:creationId xmlns:a16="http://schemas.microsoft.com/office/drawing/2014/main" id="{FA53623D-6765-481B-9441-3C98A5728B1F}"/>
              </a:ext>
            </a:extLst>
          </p:cNvPr>
          <p:cNvSpPr txBox="1"/>
          <p:nvPr/>
        </p:nvSpPr>
        <p:spPr>
          <a:xfrm>
            <a:off x="5206740" y="368706"/>
            <a:ext cx="3646967" cy="6586418"/>
          </a:xfrm>
          <a:prstGeom prst="rect">
            <a:avLst/>
          </a:prstGeom>
          <a:noFill/>
        </p:spPr>
        <p:txBody>
          <a:bodyPr wrap="square" rtlCol="0">
            <a:spAutoFit/>
          </a:bodyPr>
          <a:lstStyle/>
          <a:p>
            <a:r>
              <a:rPr lang="en-US" dirty="0">
                <a:solidFill>
                  <a:schemeClr val="bg1"/>
                </a:solidFill>
              </a:rPr>
              <a:t>The statistics from both charts show that Singapore has a highly developed economy. A higher GDP can indicate more development across a country and better social services for citizens. However, we can see that Singapore’s GDP per capita has been decreasing since 2004, yet the country is faring well in terms of education, personal safety, life expectancy, housing, and healthcare. </a:t>
            </a:r>
          </a:p>
          <a:p>
            <a:endParaRPr lang="en-US" dirty="0">
              <a:solidFill>
                <a:schemeClr val="bg1"/>
              </a:solidFill>
            </a:endParaRPr>
          </a:p>
          <a:p>
            <a:pPr marL="285750" indent="-285750">
              <a:buFont typeface="Arial" panose="020B0604020202020204" pitchFamily="34" charset="0"/>
              <a:buChar char="•"/>
            </a:pPr>
            <a:r>
              <a:rPr lang="en-US" sz="1200" dirty="0">
                <a:solidFill>
                  <a:schemeClr val="bg1"/>
                </a:solidFill>
              </a:rPr>
              <a:t>Singapore produces the world’s brightest young people. League tables consistently place Singapore in the top ranks. Higher than many advanced economies like Canada, Switzerland, or even Finland on some measures</a:t>
            </a:r>
          </a:p>
          <a:p>
            <a:pPr marL="285750" indent="-285750">
              <a:buFont typeface="Arial" panose="020B0604020202020204" pitchFamily="34" charset="0"/>
              <a:buChar char="•"/>
            </a:pPr>
            <a:endParaRPr lang="en-US" sz="1200" dirty="0">
              <a:solidFill>
                <a:schemeClr val="bg1"/>
              </a:solidFill>
            </a:endParaRPr>
          </a:p>
          <a:p>
            <a:pPr marL="285750" indent="-285750">
              <a:buFont typeface="Arial" panose="020B0604020202020204" pitchFamily="34" charset="0"/>
              <a:buChar char="•"/>
            </a:pPr>
            <a:r>
              <a:rPr lang="en-US" sz="1200" dirty="0">
                <a:solidFill>
                  <a:schemeClr val="bg1"/>
                </a:solidFill>
              </a:rPr>
              <a:t>The level of corruption has remained extremely low within the past two decades</a:t>
            </a:r>
          </a:p>
          <a:p>
            <a:pPr marL="285750" indent="-285750">
              <a:buFont typeface="Arial" panose="020B0604020202020204" pitchFamily="34" charset="0"/>
              <a:buChar char="•"/>
            </a:pPr>
            <a:endParaRPr lang="en-US" sz="1200" dirty="0">
              <a:solidFill>
                <a:schemeClr val="bg1"/>
              </a:solidFill>
            </a:endParaRPr>
          </a:p>
          <a:p>
            <a:pPr marL="285750" indent="-285750">
              <a:buFont typeface="Arial" panose="020B0604020202020204" pitchFamily="34" charset="0"/>
              <a:buChar char="•"/>
            </a:pPr>
            <a:r>
              <a:rPr lang="en-US" sz="1200" dirty="0">
                <a:solidFill>
                  <a:schemeClr val="bg1"/>
                </a:solidFill>
              </a:rPr>
              <a:t>The economy of this nation has been performing positively within the past decade</a:t>
            </a:r>
          </a:p>
          <a:p>
            <a:pPr marL="285750" indent="-285750">
              <a:buFont typeface="Arial" panose="020B0604020202020204" pitchFamily="34" charset="0"/>
              <a:buChar char="•"/>
            </a:pPr>
            <a:endParaRPr lang="en-US" sz="1200" dirty="0">
              <a:solidFill>
                <a:schemeClr val="bg1"/>
              </a:solidFill>
            </a:endParaRPr>
          </a:p>
          <a:p>
            <a:pPr marL="285750" indent="-285750">
              <a:buFont typeface="Arial" panose="020B0604020202020204" pitchFamily="34" charset="0"/>
              <a:buChar char="•"/>
            </a:pPr>
            <a:r>
              <a:rPr lang="en-US" sz="1200" dirty="0">
                <a:solidFill>
                  <a:schemeClr val="bg1"/>
                </a:solidFill>
              </a:rPr>
              <a:t>According to many economists, the country’s GDP per capita might surpass the $90,000 US mark by the year 2040. This is a clear indication that Singapore is on the right path towards becoming a fully developed nation</a:t>
            </a:r>
          </a:p>
          <a:p>
            <a:pPr marL="285750" indent="-285750">
              <a:buFont typeface="Arial" panose="020B0604020202020204" pitchFamily="34" charset="0"/>
              <a:buChar char="•"/>
            </a:pPr>
            <a:endParaRPr lang="en-US" sz="1200" dirty="0">
              <a:solidFill>
                <a:schemeClr val="bg1"/>
              </a:solidFill>
            </a:endParaRPr>
          </a:p>
          <a:p>
            <a:pPr marL="285750" indent="-285750">
              <a:buFont typeface="Arial" panose="020B0604020202020204" pitchFamily="34" charset="0"/>
              <a:buChar char="•"/>
            </a:pPr>
            <a:endParaRPr lang="en-US" sz="1200" dirty="0">
              <a:solidFill>
                <a:schemeClr val="bg1"/>
              </a:solidFill>
            </a:endParaRPr>
          </a:p>
          <a:p>
            <a:endParaRPr lang="en-US" dirty="0">
              <a:solidFill>
                <a:schemeClr val="bg1"/>
              </a:solidFill>
            </a:endParaRPr>
          </a:p>
          <a:p>
            <a:endParaRPr lang="en-US" dirty="0">
              <a:solidFill>
                <a:schemeClr val="bg1"/>
              </a:solidFill>
            </a:endParaRPr>
          </a:p>
        </p:txBody>
      </p:sp>
      <p:graphicFrame>
        <p:nvGraphicFramePr>
          <p:cNvPr id="12" name="Chart 11">
            <a:extLst>
              <a:ext uri="{FF2B5EF4-FFF2-40B4-BE49-F238E27FC236}">
                <a16:creationId xmlns:a16="http://schemas.microsoft.com/office/drawing/2014/main" id="{956E2219-4C2C-4572-BFAD-38388A1C9258}"/>
              </a:ext>
            </a:extLst>
          </p:cNvPr>
          <p:cNvGraphicFramePr>
            <a:graphicFrameLocks/>
          </p:cNvGraphicFramePr>
          <p:nvPr>
            <p:extLst>
              <p:ext uri="{D42A27DB-BD31-4B8C-83A1-F6EECF244321}">
                <p14:modId xmlns:p14="http://schemas.microsoft.com/office/powerpoint/2010/main" val="3028193836"/>
              </p:ext>
            </p:extLst>
          </p:nvPr>
        </p:nvGraphicFramePr>
        <p:xfrm>
          <a:off x="148626" y="300789"/>
          <a:ext cx="4754880" cy="2926080"/>
        </p:xfrm>
        <a:graphic>
          <a:graphicData uri="http://schemas.openxmlformats.org/drawingml/2006/chart">
            <c:chart xmlns:c="http://schemas.openxmlformats.org/drawingml/2006/chart" xmlns:r="http://schemas.openxmlformats.org/officeDocument/2006/relationships" r:id="rId3"/>
          </a:graphicData>
        </a:graphic>
      </p:graphicFrame>
      <p:sp>
        <p:nvSpPr>
          <p:cNvPr id="16" name="Google Shape;872;p26">
            <a:extLst>
              <a:ext uri="{FF2B5EF4-FFF2-40B4-BE49-F238E27FC236}">
                <a16:creationId xmlns:a16="http://schemas.microsoft.com/office/drawing/2014/main" id="{C8EC506A-58AC-4A81-B109-059E32737C3C}"/>
              </a:ext>
            </a:extLst>
          </p:cNvPr>
          <p:cNvSpPr txBox="1">
            <a:spLocks/>
          </p:cNvSpPr>
          <p:nvPr/>
        </p:nvSpPr>
        <p:spPr>
          <a:xfrm>
            <a:off x="8714166" y="-180950"/>
            <a:ext cx="557400" cy="7304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1pPr>
            <a:lvl2pPr marR="0" lvl="1"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2pPr>
            <a:lvl3pPr marR="0" lvl="2"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3pPr>
            <a:lvl4pPr marR="0" lvl="3"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4pPr>
            <a:lvl5pPr marR="0" lvl="4"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5pPr>
            <a:lvl6pPr marR="0" lvl="5"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6pPr>
            <a:lvl7pPr marR="0" lvl="6"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7pPr>
            <a:lvl8pPr marR="0" lvl="7"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8pPr>
            <a:lvl9pPr marR="0" lvl="8" algn="ctr" rtl="0">
              <a:lnSpc>
                <a:spcPct val="100000"/>
              </a:lnSpc>
              <a:spcBef>
                <a:spcPts val="0"/>
              </a:spcBef>
              <a:spcAft>
                <a:spcPts val="0"/>
              </a:spcAft>
              <a:buClr>
                <a:srgbClr val="000000"/>
              </a:buClr>
              <a:buFont typeface="Arial"/>
              <a:buNone/>
              <a:defRPr sz="1400" b="0" i="0" u="none" strike="noStrike" cap="none">
                <a:solidFill>
                  <a:srgbClr val="FFFFFF"/>
                </a:solidFill>
                <a:latin typeface="Titillium Web"/>
                <a:ea typeface="Titillium Web"/>
                <a:cs typeface="Titillium Web"/>
                <a:sym typeface="Titillium Web"/>
              </a:defRPr>
            </a:lvl9pPr>
          </a:lstStyle>
          <a:p>
            <a:fld id="{00000000-1234-1234-1234-123412341234}" type="slidenum">
              <a:rPr lang="en" smtClean="0"/>
              <a:pPr/>
              <a:t>9</a:t>
            </a:fld>
            <a:endParaRPr lang="en" dirty="0"/>
          </a:p>
        </p:txBody>
      </p:sp>
      <p:sp>
        <p:nvSpPr>
          <p:cNvPr id="7" name="TextBox 6">
            <a:extLst>
              <a:ext uri="{FF2B5EF4-FFF2-40B4-BE49-F238E27FC236}">
                <a16:creationId xmlns:a16="http://schemas.microsoft.com/office/drawing/2014/main" id="{077186F1-1153-4D81-8145-BCFF7CFC9781}"/>
              </a:ext>
            </a:extLst>
          </p:cNvPr>
          <p:cNvSpPr txBox="1"/>
          <p:nvPr/>
        </p:nvSpPr>
        <p:spPr>
          <a:xfrm>
            <a:off x="1831832" y="87757"/>
            <a:ext cx="1387732" cy="261610"/>
          </a:xfrm>
          <a:prstGeom prst="rect">
            <a:avLst/>
          </a:prstGeom>
          <a:noFill/>
        </p:spPr>
        <p:txBody>
          <a:bodyPr wrap="square" rtlCol="0">
            <a:spAutoFit/>
          </a:bodyPr>
          <a:lstStyle/>
          <a:p>
            <a:pPr algn="ctr"/>
            <a:r>
              <a:rPr lang="en-US" sz="1100" dirty="0">
                <a:solidFill>
                  <a:schemeClr val="bg1"/>
                </a:solidFill>
              </a:rPr>
              <a:t>Chart 11</a:t>
            </a:r>
          </a:p>
        </p:txBody>
      </p:sp>
      <p:sp>
        <p:nvSpPr>
          <p:cNvPr id="8" name="TextBox 7">
            <a:extLst>
              <a:ext uri="{FF2B5EF4-FFF2-40B4-BE49-F238E27FC236}">
                <a16:creationId xmlns:a16="http://schemas.microsoft.com/office/drawing/2014/main" id="{13F23BA1-9CC0-4BDB-A06F-B7695FC44B76}"/>
              </a:ext>
            </a:extLst>
          </p:cNvPr>
          <p:cNvSpPr txBox="1"/>
          <p:nvPr/>
        </p:nvSpPr>
        <p:spPr>
          <a:xfrm>
            <a:off x="1831832" y="3389496"/>
            <a:ext cx="1387732" cy="261610"/>
          </a:xfrm>
          <a:prstGeom prst="rect">
            <a:avLst/>
          </a:prstGeom>
          <a:noFill/>
        </p:spPr>
        <p:txBody>
          <a:bodyPr wrap="square" rtlCol="0">
            <a:spAutoFit/>
          </a:bodyPr>
          <a:lstStyle/>
          <a:p>
            <a:pPr algn="ctr"/>
            <a:r>
              <a:rPr lang="en-US" sz="1100" dirty="0">
                <a:solidFill>
                  <a:schemeClr val="bg1"/>
                </a:solidFill>
              </a:rPr>
              <a:t>Chart 12</a:t>
            </a:r>
          </a:p>
        </p:txBody>
      </p:sp>
      <p:graphicFrame>
        <p:nvGraphicFramePr>
          <p:cNvPr id="10" name="Chart 9">
            <a:extLst>
              <a:ext uri="{FF2B5EF4-FFF2-40B4-BE49-F238E27FC236}">
                <a16:creationId xmlns:a16="http://schemas.microsoft.com/office/drawing/2014/main" id="{D144B933-7555-41E1-88CF-A705F310AC3E}"/>
              </a:ext>
            </a:extLst>
          </p:cNvPr>
          <p:cNvGraphicFramePr>
            <a:graphicFrameLocks/>
          </p:cNvGraphicFramePr>
          <p:nvPr>
            <p:extLst>
              <p:ext uri="{D42A27DB-BD31-4B8C-83A1-F6EECF244321}">
                <p14:modId xmlns:p14="http://schemas.microsoft.com/office/powerpoint/2010/main" val="234310753"/>
              </p:ext>
            </p:extLst>
          </p:nvPr>
        </p:nvGraphicFramePr>
        <p:xfrm>
          <a:off x="148626" y="3661915"/>
          <a:ext cx="4754880" cy="292608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E6A868C3-32AD-444C-A261-AA6553640503&quot;,&quot;SourceFullName&quot;:&quot;C:\\Users\\Garage B14\\Desktop\\Total energy supply (TES) by source - Singapore.csv&quot;,&quot;LastUpdate&quot;:&quot;2021-05-10 7:22 PM&quot;,&quot;UpdatedBy&quot;:&quot;Garage B14&quot;,&quot;IsLinked&quot;:false,&quot;IsBrokenLink&quot;:true}"/>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A819EDE6-F187-4085-8592-53B54C3C9346&quot;,&quot;SourceFullName&quot;:&quot;C:\\Users\\Garage B14\\Desktop\\Total energy supply (TES) by source - Singapore.csv&quot;,&quot;LastUpdate&quot;:&quot;2021-05-10 7:33 PM&quot;,&quot;UpdatedBy&quot;:&quot;Garage B14&quot;,&quot;IsLinked&quot;:false,&quot;IsBrokenLink&quot;:true}"/>
</p:tagLst>
</file>

<file path=ppt/theme/theme1.xml><?xml version="1.0" encoding="utf-8"?>
<a:theme xmlns:a="http://schemas.openxmlformats.org/drawingml/2006/main" name="Thaliard template">
  <a:themeElements>
    <a:clrScheme name="Custom 347">
      <a:dk1>
        <a:srgbClr val="34373D"/>
      </a:dk1>
      <a:lt1>
        <a:srgbClr val="FFFFFF"/>
      </a:lt1>
      <a:dk2>
        <a:srgbClr val="CDD2DB"/>
      </a:dk2>
      <a:lt2>
        <a:srgbClr val="6A7486"/>
      </a:lt2>
      <a:accent1>
        <a:srgbClr val="465573"/>
      </a:accent1>
      <a:accent2>
        <a:srgbClr val="6E86B6"/>
      </a:accent2>
      <a:accent3>
        <a:srgbClr val="ACBFE6"/>
      </a:accent3>
      <a:accent4>
        <a:srgbClr val="91C05E"/>
      </a:accent4>
      <a:accent5>
        <a:srgbClr val="ACCC88"/>
      </a:accent5>
      <a:accent6>
        <a:srgbClr val="E2F8CB"/>
      </a:accent6>
      <a:hlink>
        <a:srgbClr val="FFFFFF"/>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89</TotalTime>
  <Words>1472</Words>
  <Application>Microsoft Office PowerPoint</Application>
  <PresentationFormat>On-screen Show (4:3)</PresentationFormat>
  <Paragraphs>128</Paragraphs>
  <Slides>11</Slides>
  <Notes>1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1</vt:i4>
      </vt:variant>
    </vt:vector>
  </HeadingPairs>
  <TitlesOfParts>
    <vt:vector size="16" baseType="lpstr">
      <vt:lpstr>Titillium Web</vt:lpstr>
      <vt:lpstr>Arial</vt:lpstr>
      <vt:lpstr>Calibri</vt:lpstr>
      <vt:lpstr>Titillium Web ExtraLight</vt:lpstr>
      <vt:lpstr>Thaliard template</vt:lpstr>
      <vt:lpstr>Singapore Energy Profile</vt:lpstr>
      <vt:lpstr>Country Profile</vt:lpstr>
      <vt:lpstr>PowerPoint Presentation</vt:lpstr>
      <vt:lpstr>PowerPoint Presentation</vt:lpstr>
      <vt:lpstr>Energy Flow charts for 2011 (in petajoules)</vt:lpstr>
      <vt:lpstr>PowerPoint Presentation</vt:lpstr>
      <vt:lpstr>PowerPoint Presentation</vt:lpstr>
      <vt:lpstr>PowerPoint Presentation</vt:lpstr>
      <vt:lpstr>PowerPoint Presentation</vt:lpstr>
      <vt:lpstr>PowerPoint Presentat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ngapore Energy Profile</dc:title>
  <cp:lastModifiedBy>Kristina Ghahramanyan</cp:lastModifiedBy>
  <cp:revision>65</cp:revision>
  <dcterms:modified xsi:type="dcterms:W3CDTF">2021-05-12T12:16:11Z</dcterms:modified>
</cp:coreProperties>
</file>